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665" r:id="rId5"/>
    <p:sldMasterId id="2147483730" r:id="rId6"/>
    <p:sldMasterId id="2147483850" r:id="rId7"/>
  </p:sldMasterIdLst>
  <p:notesMasterIdLst>
    <p:notesMasterId r:id="rId14"/>
  </p:notesMasterIdLst>
  <p:handoutMasterIdLst>
    <p:handoutMasterId r:id="rId15"/>
  </p:handoutMasterIdLst>
  <p:sldIdLst>
    <p:sldId id="607" r:id="rId8"/>
    <p:sldId id="641" r:id="rId9"/>
    <p:sldId id="670" r:id="rId10"/>
    <p:sldId id="671" r:id="rId11"/>
    <p:sldId id="630" r:id="rId12"/>
    <p:sldId id="614" r:id="rId13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options" id="{3B244085-A06C-4A0D-AC38-1FCCF96387FB}">
          <p14:sldIdLst>
            <p14:sldId id="607"/>
            <p14:sldId id="641"/>
            <p14:sldId id="670"/>
            <p14:sldId id="671"/>
            <p14:sldId id="630"/>
            <p14:sldId id="61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82"/>
    <a:srgbClr val="6EBBD4"/>
    <a:srgbClr val="88D5ED"/>
    <a:srgbClr val="CB2980"/>
    <a:srgbClr val="00C37B"/>
    <a:srgbClr val="FF6327"/>
    <a:srgbClr val="0A8CB7"/>
    <a:srgbClr val="FF7E83"/>
    <a:srgbClr val="893713"/>
    <a:srgbClr val="C8FF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BB24B7-2B37-40E3-8561-535C94773D2C}" v="1059" dt="2020-06-17T19:47:00.5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322" autoAdjust="0"/>
    <p:restoredTop sz="95232" autoAdjust="0"/>
  </p:normalViewPr>
  <p:slideViewPr>
    <p:cSldViewPr>
      <p:cViewPr varScale="1">
        <p:scale>
          <a:sx n="82" d="100"/>
          <a:sy n="82" d="100"/>
        </p:scale>
        <p:origin x="446" y="48"/>
      </p:cViewPr>
      <p:guideLst/>
    </p:cSldViewPr>
  </p:slideViewPr>
  <p:outlineViewPr>
    <p:cViewPr>
      <p:scale>
        <a:sx n="33" d="100"/>
        <a:sy n="33" d="100"/>
      </p:scale>
      <p:origin x="0" y="-5859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180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kker, Ronald" userId="a20cb0d3-d839-4381-bfaf-2a45b273c42c" providerId="ADAL" clId="{3BBB24B7-2B37-40E3-8561-535C94773D2C}"/>
    <pc:docChg chg="undo redo custSel addSld delSld modSld sldOrd modSection">
      <pc:chgData name="Bakker, Ronald" userId="a20cb0d3-d839-4381-bfaf-2a45b273c42c" providerId="ADAL" clId="{3BBB24B7-2B37-40E3-8561-535C94773D2C}" dt="2020-06-17T19:47:00.528" v="2687" actId="207"/>
      <pc:docMkLst>
        <pc:docMk/>
      </pc:docMkLst>
      <pc:sldChg chg="del">
        <pc:chgData name="Bakker, Ronald" userId="a20cb0d3-d839-4381-bfaf-2a45b273c42c" providerId="ADAL" clId="{3BBB24B7-2B37-40E3-8561-535C94773D2C}" dt="2020-06-17T19:04:05.447" v="1268" actId="2696"/>
        <pc:sldMkLst>
          <pc:docMk/>
          <pc:sldMk cId="0" sldId="602"/>
        </pc:sldMkLst>
      </pc:sldChg>
      <pc:sldChg chg="addSp delSp modSp modTransition">
        <pc:chgData name="Bakker, Ronald" userId="a20cb0d3-d839-4381-bfaf-2a45b273c42c" providerId="ADAL" clId="{3BBB24B7-2B37-40E3-8561-535C94773D2C}" dt="2020-06-17T19:47:00.528" v="2687" actId="207"/>
        <pc:sldMkLst>
          <pc:docMk/>
          <pc:sldMk cId="3795818424" sldId="630"/>
        </pc:sldMkLst>
        <pc:spChg chg="add mod ord">
          <ac:chgData name="Bakker, Ronald" userId="a20cb0d3-d839-4381-bfaf-2a45b273c42c" providerId="ADAL" clId="{3BBB24B7-2B37-40E3-8561-535C94773D2C}" dt="2020-06-17T18:18:00.366" v="455" actId="20577"/>
          <ac:spMkLst>
            <pc:docMk/>
            <pc:sldMk cId="3795818424" sldId="630"/>
            <ac:spMk id="35" creationId="{1DFE08AC-B415-40D8-B40D-BFF2D1D035ED}"/>
          </ac:spMkLst>
        </pc:spChg>
        <pc:spChg chg="add ord">
          <ac:chgData name="Bakker, Ronald" userId="a20cb0d3-d839-4381-bfaf-2a45b273c42c" providerId="ADAL" clId="{3BBB24B7-2B37-40E3-8561-535C94773D2C}" dt="2020-06-17T18:16:16.443" v="384" actId="167"/>
          <ac:spMkLst>
            <pc:docMk/>
            <pc:sldMk cId="3795818424" sldId="630"/>
            <ac:spMk id="36" creationId="{51F52F5F-F5FF-4D27-9926-182C5F9B40A7}"/>
          </ac:spMkLst>
        </pc:spChg>
        <pc:spChg chg="add mod">
          <ac:chgData name="Bakker, Ronald" userId="a20cb0d3-d839-4381-bfaf-2a45b273c42c" providerId="ADAL" clId="{3BBB24B7-2B37-40E3-8561-535C94773D2C}" dt="2020-06-17T18:17:47.782" v="429" actId="1076"/>
          <ac:spMkLst>
            <pc:docMk/>
            <pc:sldMk cId="3795818424" sldId="630"/>
            <ac:spMk id="37" creationId="{E439E7DF-28DF-4E25-8EB2-4C8C52AC98AF}"/>
          </ac:spMkLst>
        </pc:spChg>
        <pc:spChg chg="add mod">
          <ac:chgData name="Bakker, Ronald" userId="a20cb0d3-d839-4381-bfaf-2a45b273c42c" providerId="ADAL" clId="{3BBB24B7-2B37-40E3-8561-535C94773D2C}" dt="2020-06-17T18:17:27.007" v="425" actId="20577"/>
          <ac:spMkLst>
            <pc:docMk/>
            <pc:sldMk cId="3795818424" sldId="630"/>
            <ac:spMk id="38" creationId="{424DB6D7-0771-4D59-93CA-1EF508D8EB87}"/>
          </ac:spMkLst>
        </pc:spChg>
        <pc:spChg chg="mod ord">
          <ac:chgData name="Bakker, Ronald" userId="a20cb0d3-d839-4381-bfaf-2a45b273c42c" providerId="ADAL" clId="{3BBB24B7-2B37-40E3-8561-535C94773D2C}" dt="2020-06-17T19:21:38.420" v="2151" actId="692"/>
          <ac:spMkLst>
            <pc:docMk/>
            <pc:sldMk cId="3795818424" sldId="630"/>
            <ac:spMk id="40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9:43:26.886" v="2656" actId="20577"/>
          <ac:spMkLst>
            <pc:docMk/>
            <pc:sldMk cId="3795818424" sldId="630"/>
            <ac:spMk id="43" creationId="{59FF62B2-D74B-43FB-BC62-C6450BF3237B}"/>
          </ac:spMkLst>
        </pc:spChg>
        <pc:spChg chg="mod">
          <ac:chgData name="Bakker, Ronald" userId="a20cb0d3-d839-4381-bfaf-2a45b273c42c" providerId="ADAL" clId="{3BBB24B7-2B37-40E3-8561-535C94773D2C}" dt="2020-06-17T19:34:05.401" v="2384" actId="20577"/>
          <ac:spMkLst>
            <pc:docMk/>
            <pc:sldMk cId="3795818424" sldId="630"/>
            <ac:spMk id="44" creationId="{83EA96B7-1FA2-4261-855B-7BD3E9BD6FCC}"/>
          </ac:spMkLst>
        </pc:spChg>
        <pc:spChg chg="mod">
          <ac:chgData name="Bakker, Ronald" userId="a20cb0d3-d839-4381-bfaf-2a45b273c42c" providerId="ADAL" clId="{3BBB24B7-2B37-40E3-8561-535C94773D2C}" dt="2020-06-17T19:38:53.973" v="2400" actId="207"/>
          <ac:spMkLst>
            <pc:docMk/>
            <pc:sldMk cId="3795818424" sldId="630"/>
            <ac:spMk id="45" creationId="{73229536-33DE-4B19-8645-343DEEFBB2CE}"/>
          </ac:spMkLst>
        </pc:spChg>
        <pc:spChg chg="mod">
          <ac:chgData name="Bakker, Ronald" userId="a20cb0d3-d839-4381-bfaf-2a45b273c42c" providerId="ADAL" clId="{3BBB24B7-2B37-40E3-8561-535C94773D2C}" dt="2020-06-17T19:43:43.348" v="2660" actId="20577"/>
          <ac:spMkLst>
            <pc:docMk/>
            <pc:sldMk cId="3795818424" sldId="630"/>
            <ac:spMk id="46" creationId="{E35F4DC6-A4C1-4EED-B8A6-F553B77BA8E3}"/>
          </ac:spMkLst>
        </pc:spChg>
        <pc:spChg chg="mod">
          <ac:chgData name="Bakker, Ronald" userId="a20cb0d3-d839-4381-bfaf-2a45b273c42c" providerId="ADAL" clId="{3BBB24B7-2B37-40E3-8561-535C94773D2C}" dt="2020-06-17T19:44:02.037" v="2682" actId="20577"/>
          <ac:spMkLst>
            <pc:docMk/>
            <pc:sldMk cId="3795818424" sldId="630"/>
            <ac:spMk id="47" creationId="{78134F86-B8FB-47ED-9E61-D0487DF5AC7F}"/>
          </ac:spMkLst>
        </pc:spChg>
        <pc:spChg chg="add del mod">
          <ac:chgData name="Bakker, Ronald" userId="a20cb0d3-d839-4381-bfaf-2a45b273c42c" providerId="ADAL" clId="{3BBB24B7-2B37-40E3-8561-535C94773D2C}" dt="2020-06-17T19:43:57.762" v="2672" actId="20577"/>
          <ac:spMkLst>
            <pc:docMk/>
            <pc:sldMk cId="3795818424" sldId="630"/>
            <ac:spMk id="48" creationId="{FFBC6E89-B9D2-4571-A513-F4A893DDA56D}"/>
          </ac:spMkLst>
        </pc:spChg>
        <pc:spChg chg="mod">
          <ac:chgData name="Bakker, Ronald" userId="a20cb0d3-d839-4381-bfaf-2a45b273c42c" providerId="ADAL" clId="{3BBB24B7-2B37-40E3-8561-535C94773D2C}" dt="2020-06-17T19:12:52.285" v="1403" actId="208"/>
          <ac:spMkLst>
            <pc:docMk/>
            <pc:sldMk cId="3795818424" sldId="630"/>
            <ac:spMk id="52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9:12:52.285" v="1403" actId="208"/>
          <ac:spMkLst>
            <pc:docMk/>
            <pc:sldMk cId="3795818424" sldId="630"/>
            <ac:spMk id="53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9:12:52.285" v="1403" actId="208"/>
          <ac:spMkLst>
            <pc:docMk/>
            <pc:sldMk cId="3795818424" sldId="630"/>
            <ac:spMk id="56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9:46:49.248" v="2684" actId="207"/>
          <ac:spMkLst>
            <pc:docMk/>
            <pc:sldMk cId="3795818424" sldId="630"/>
            <ac:spMk id="57" creationId="{F5D755D5-CA62-46BF-8484-8811FE0F67B3}"/>
          </ac:spMkLst>
        </pc:spChg>
        <pc:spChg chg="mod">
          <ac:chgData name="Bakker, Ronald" userId="a20cb0d3-d839-4381-bfaf-2a45b273c42c" providerId="ADAL" clId="{3BBB24B7-2B37-40E3-8561-535C94773D2C}" dt="2020-06-17T19:12:52.285" v="1403" actId="208"/>
          <ac:spMkLst>
            <pc:docMk/>
            <pc:sldMk cId="3795818424" sldId="630"/>
            <ac:spMk id="58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9:46:52.575" v="2685" actId="207"/>
          <ac:spMkLst>
            <pc:docMk/>
            <pc:sldMk cId="3795818424" sldId="630"/>
            <ac:spMk id="59" creationId="{5EAAA506-B960-408F-9354-19C12CB604C9}"/>
          </ac:spMkLst>
        </pc:spChg>
        <pc:spChg chg="mod">
          <ac:chgData name="Bakker, Ronald" userId="a20cb0d3-d839-4381-bfaf-2a45b273c42c" providerId="ADAL" clId="{3BBB24B7-2B37-40E3-8561-535C94773D2C}" dt="2020-06-17T19:47:00.528" v="2687" actId="207"/>
          <ac:spMkLst>
            <pc:docMk/>
            <pc:sldMk cId="3795818424" sldId="630"/>
            <ac:spMk id="61" creationId="{1A5C58F5-44E0-43DE-B1E4-BD534475F5F2}"/>
          </ac:spMkLst>
        </pc:spChg>
        <pc:spChg chg="mod">
          <ac:chgData name="Bakker, Ronald" userId="a20cb0d3-d839-4381-bfaf-2a45b273c42c" providerId="ADAL" clId="{3BBB24B7-2B37-40E3-8561-535C94773D2C}" dt="2020-06-17T19:46:56.465" v="2686" actId="207"/>
          <ac:spMkLst>
            <pc:docMk/>
            <pc:sldMk cId="3795818424" sldId="630"/>
            <ac:spMk id="62" creationId="{93080F89-4216-4F67-97EC-BF338494E252}"/>
          </ac:spMkLst>
        </pc:spChg>
        <pc:spChg chg="mod">
          <ac:chgData name="Bakker, Ronald" userId="a20cb0d3-d839-4381-bfaf-2a45b273c42c" providerId="ADAL" clId="{3BBB24B7-2B37-40E3-8561-535C94773D2C}" dt="2020-06-17T19:39:36.800" v="2403" actId="692"/>
          <ac:spMkLst>
            <pc:docMk/>
            <pc:sldMk cId="3795818424" sldId="630"/>
            <ac:spMk id="63" creationId="{06377C93-0286-4BAF-B845-788BB77780C3}"/>
          </ac:spMkLst>
        </pc:spChg>
        <pc:spChg chg="mod">
          <ac:chgData name="Bakker, Ronald" userId="a20cb0d3-d839-4381-bfaf-2a45b273c42c" providerId="ADAL" clId="{3BBB24B7-2B37-40E3-8561-535C94773D2C}" dt="2020-06-17T19:39:43.134" v="2404" actId="692"/>
          <ac:spMkLst>
            <pc:docMk/>
            <pc:sldMk cId="3795818424" sldId="630"/>
            <ac:spMk id="64" creationId="{B4D1AA6E-B1CD-4260-94B1-A49629F0C504}"/>
          </ac:spMkLst>
        </pc:spChg>
        <pc:spChg chg="mod">
          <ac:chgData name="Bakker, Ronald" userId="a20cb0d3-d839-4381-bfaf-2a45b273c42c" providerId="ADAL" clId="{3BBB24B7-2B37-40E3-8561-535C94773D2C}" dt="2020-06-17T19:40:36.251" v="2408" actId="207"/>
          <ac:spMkLst>
            <pc:docMk/>
            <pc:sldMk cId="3795818424" sldId="630"/>
            <ac:spMk id="67" creationId="{609A1C50-EF6A-4F8C-9DFF-1777B3300A18}"/>
          </ac:spMkLst>
        </pc:spChg>
        <pc:spChg chg="mod">
          <ac:chgData name="Bakker, Ronald" userId="a20cb0d3-d839-4381-bfaf-2a45b273c42c" providerId="ADAL" clId="{3BBB24B7-2B37-40E3-8561-535C94773D2C}" dt="2020-06-17T19:40:24.087" v="2406" actId="207"/>
          <ac:spMkLst>
            <pc:docMk/>
            <pc:sldMk cId="3795818424" sldId="630"/>
            <ac:spMk id="69" creationId="{A2A4EFDB-6E58-41A4-91F3-6B1B6BD572A0}"/>
          </ac:spMkLst>
        </pc:spChg>
        <pc:spChg chg="mod">
          <ac:chgData name="Bakker, Ronald" userId="a20cb0d3-d839-4381-bfaf-2a45b273c42c" providerId="ADAL" clId="{3BBB24B7-2B37-40E3-8561-535C94773D2C}" dt="2020-06-17T19:40:30.169" v="2407" actId="207"/>
          <ac:spMkLst>
            <pc:docMk/>
            <pc:sldMk cId="3795818424" sldId="630"/>
            <ac:spMk id="75" creationId="{D131794C-3C7C-43A4-9A2A-6290C02D6064}"/>
          </ac:spMkLst>
        </pc:spChg>
        <pc:spChg chg="mod">
          <ac:chgData name="Bakker, Ronald" userId="a20cb0d3-d839-4381-bfaf-2a45b273c42c" providerId="ADAL" clId="{3BBB24B7-2B37-40E3-8561-535C94773D2C}" dt="2020-06-17T19:13:24.953" v="1404" actId="207"/>
          <ac:spMkLst>
            <pc:docMk/>
            <pc:sldMk cId="3795818424" sldId="630"/>
            <ac:spMk id="93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9:13:24.953" v="1404" actId="207"/>
          <ac:spMkLst>
            <pc:docMk/>
            <pc:sldMk cId="3795818424" sldId="630"/>
            <ac:spMk id="94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9:13:24.953" v="1404" actId="207"/>
          <ac:spMkLst>
            <pc:docMk/>
            <pc:sldMk cId="3795818424" sldId="630"/>
            <ac:spMk id="95" creationId="{00000000-0000-0000-0000-000000000000}"/>
          </ac:spMkLst>
        </pc:spChg>
        <pc:spChg chg="add del mod">
          <ac:chgData name="Bakker, Ronald" userId="a20cb0d3-d839-4381-bfaf-2a45b273c42c" providerId="ADAL" clId="{3BBB24B7-2B37-40E3-8561-535C94773D2C}" dt="2020-06-17T19:13:24.953" v="1404" actId="207"/>
          <ac:spMkLst>
            <pc:docMk/>
            <pc:sldMk cId="3795818424" sldId="630"/>
            <ac:spMk id="96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9:07:33.642" v="1339" actId="20577"/>
          <ac:spMkLst>
            <pc:docMk/>
            <pc:sldMk cId="3795818424" sldId="630"/>
            <ac:spMk id="97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9:07:26.404" v="1319" actId="20577"/>
          <ac:spMkLst>
            <pc:docMk/>
            <pc:sldMk cId="3795818424" sldId="630"/>
            <ac:spMk id="98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8:51:07.949" v="1054" actId="207"/>
          <ac:spMkLst>
            <pc:docMk/>
            <pc:sldMk cId="3795818424" sldId="630"/>
            <ac:spMk id="100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9:22:41.911" v="2261" actId="1076"/>
          <ac:spMkLst>
            <pc:docMk/>
            <pc:sldMk cId="3795818424" sldId="630"/>
            <ac:spMk id="105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8:27:28.425" v="607" actId="20577"/>
          <ac:spMkLst>
            <pc:docMk/>
            <pc:sldMk cId="3795818424" sldId="630"/>
            <ac:spMk id="24579" creationId="{00000000-0000-0000-0000-000000000000}"/>
          </ac:spMkLst>
        </pc:spChg>
        <pc:grpChg chg="del mod">
          <ac:chgData name="Bakker, Ronald" userId="a20cb0d3-d839-4381-bfaf-2a45b273c42c" providerId="ADAL" clId="{3BBB24B7-2B37-40E3-8561-535C94773D2C}" dt="2020-06-17T19:23:04.095" v="2262" actId="478"/>
          <ac:grpSpMkLst>
            <pc:docMk/>
            <pc:sldMk cId="3795818424" sldId="630"/>
            <ac:grpSpMk id="5" creationId="{00000000-0000-0000-0000-000000000000}"/>
          </ac:grpSpMkLst>
        </pc:grpChg>
        <pc:grpChg chg="add del ord">
          <ac:chgData name="Bakker, Ronald" userId="a20cb0d3-d839-4381-bfaf-2a45b273c42c" providerId="ADAL" clId="{3BBB24B7-2B37-40E3-8561-535C94773D2C}" dt="2020-06-17T18:26:46.121" v="581" actId="478"/>
          <ac:grpSpMkLst>
            <pc:docMk/>
            <pc:sldMk cId="3795818424" sldId="630"/>
            <ac:grpSpMk id="22" creationId="{B2140400-5446-4D16-8203-AD4CC2A873CC}"/>
          </ac:grpSpMkLst>
        </pc:grpChg>
        <pc:grpChg chg="add mod">
          <ac:chgData name="Bakker, Ronald" userId="a20cb0d3-d839-4381-bfaf-2a45b273c42c" providerId="ADAL" clId="{3BBB24B7-2B37-40E3-8561-535C94773D2C}" dt="2020-06-17T19:38:37.562" v="2399" actId="207"/>
          <ac:grpSpMkLst>
            <pc:docMk/>
            <pc:sldMk cId="3795818424" sldId="630"/>
            <ac:grpSpMk id="39" creationId="{6F22DF57-B37F-4AC2-8893-989837367C60}"/>
          </ac:grpSpMkLst>
        </pc:grpChg>
        <pc:grpChg chg="add ord">
          <ac:chgData name="Bakker, Ronald" userId="a20cb0d3-d839-4381-bfaf-2a45b273c42c" providerId="ADAL" clId="{3BBB24B7-2B37-40E3-8561-535C94773D2C}" dt="2020-06-17T19:35:08.185" v="2390" actId="167"/>
          <ac:grpSpMkLst>
            <pc:docMk/>
            <pc:sldMk cId="3795818424" sldId="630"/>
            <ac:grpSpMk id="65" creationId="{1B24364C-B19E-452E-B96A-DED31BA80F08}"/>
          </ac:grpSpMkLst>
        </pc:grpChg>
        <pc:cxnChg chg="mod">
          <ac:chgData name="Bakker, Ronald" userId="a20cb0d3-d839-4381-bfaf-2a45b273c42c" providerId="ADAL" clId="{3BBB24B7-2B37-40E3-8561-535C94773D2C}" dt="2020-06-17T19:38:20.590" v="2398" actId="208"/>
          <ac:cxnSpMkLst>
            <pc:docMk/>
            <pc:sldMk cId="3795818424" sldId="630"/>
            <ac:cxnSpMk id="42" creationId="{9C0B0A2F-0631-4EF6-BF08-399A633CB905}"/>
          </ac:cxnSpMkLst>
        </pc:cxnChg>
        <pc:cxnChg chg="mod">
          <ac:chgData name="Bakker, Ronald" userId="a20cb0d3-d839-4381-bfaf-2a45b273c42c" providerId="ADAL" clId="{3BBB24B7-2B37-40E3-8561-535C94773D2C}" dt="2020-06-17T19:23:04.095" v="2262" actId="478"/>
          <ac:cxnSpMkLst>
            <pc:docMk/>
            <pc:sldMk cId="3795818424" sldId="630"/>
            <ac:cxnSpMk id="24586" creationId="{00000000-0000-0000-0000-000000000000}"/>
          </ac:cxnSpMkLst>
        </pc:cxnChg>
      </pc:sldChg>
      <pc:sldChg chg="modSp ord modTransition">
        <pc:chgData name="Bakker, Ronald" userId="a20cb0d3-d839-4381-bfaf-2a45b273c42c" providerId="ADAL" clId="{3BBB24B7-2B37-40E3-8561-535C94773D2C}" dt="2020-06-17T19:09:08.567" v="1386" actId="20577"/>
        <pc:sldMkLst>
          <pc:docMk/>
          <pc:sldMk cId="2144956825" sldId="641"/>
        </pc:sldMkLst>
        <pc:spChg chg="mod">
          <ac:chgData name="Bakker, Ronald" userId="a20cb0d3-d839-4381-bfaf-2a45b273c42c" providerId="ADAL" clId="{3BBB24B7-2B37-40E3-8561-535C94773D2C}" dt="2020-06-17T18:11:15.174" v="32" actId="1076"/>
          <ac:spMkLst>
            <pc:docMk/>
            <pc:sldMk cId="2144956825" sldId="641"/>
            <ac:spMk id="2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8:10:40.038" v="18" actId="207"/>
          <ac:spMkLst>
            <pc:docMk/>
            <pc:sldMk cId="2144956825" sldId="641"/>
            <ac:spMk id="3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8:10:59.179" v="26" actId="1076"/>
          <ac:spMkLst>
            <pc:docMk/>
            <pc:sldMk cId="2144956825" sldId="641"/>
            <ac:spMk id="4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8:15:36.856" v="382" actId="20577"/>
          <ac:spMkLst>
            <pc:docMk/>
            <pc:sldMk cId="2144956825" sldId="641"/>
            <ac:spMk id="6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9:08:07.753" v="1360" actId="20577"/>
          <ac:spMkLst>
            <pc:docMk/>
            <pc:sldMk cId="2144956825" sldId="641"/>
            <ac:spMk id="12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8:11:02.267" v="28" actId="1076"/>
          <ac:spMkLst>
            <pc:docMk/>
            <pc:sldMk cId="2144956825" sldId="641"/>
            <ac:spMk id="18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9:09:08.567" v="1386" actId="20577"/>
          <ac:spMkLst>
            <pc:docMk/>
            <pc:sldMk cId="2144956825" sldId="641"/>
            <ac:spMk id="19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8:10:31.060" v="17" actId="207"/>
          <ac:spMkLst>
            <pc:docMk/>
            <pc:sldMk cId="2144956825" sldId="641"/>
            <ac:spMk id="22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8:14:51.177" v="270" actId="20577"/>
          <ac:spMkLst>
            <pc:docMk/>
            <pc:sldMk cId="2144956825" sldId="641"/>
            <ac:spMk id="14338" creationId="{00000000-0000-0000-0000-000000000000}"/>
          </ac:spMkLst>
        </pc:spChg>
      </pc:sldChg>
      <pc:sldChg chg="modSp">
        <pc:chgData name="Bakker, Ronald" userId="a20cb0d3-d839-4381-bfaf-2a45b273c42c" providerId="ADAL" clId="{3BBB24B7-2B37-40E3-8561-535C94773D2C}" dt="2020-06-17T19:42:33.537" v="2616" actId="1038"/>
        <pc:sldMkLst>
          <pc:docMk/>
          <pc:sldMk cId="3950411971" sldId="670"/>
        </pc:sldMkLst>
        <pc:spChg chg="mod">
          <ac:chgData name="Bakker, Ronald" userId="a20cb0d3-d839-4381-bfaf-2a45b273c42c" providerId="ADAL" clId="{3BBB24B7-2B37-40E3-8561-535C94773D2C}" dt="2020-06-17T19:42:21.718" v="2596" actId="207"/>
          <ac:spMkLst>
            <pc:docMk/>
            <pc:sldMk cId="3950411971" sldId="670"/>
            <ac:spMk id="18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9:42:16.781" v="2595" actId="207"/>
          <ac:spMkLst>
            <pc:docMk/>
            <pc:sldMk cId="3950411971" sldId="670"/>
            <ac:spMk id="20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9:41:50.174" v="2547" actId="207"/>
          <ac:spMkLst>
            <pc:docMk/>
            <pc:sldMk cId="3950411971" sldId="670"/>
            <ac:spMk id="26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8:16:50.429" v="416" actId="1076"/>
          <ac:spMkLst>
            <pc:docMk/>
            <pc:sldMk cId="3950411971" sldId="670"/>
            <ac:spMk id="59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8:14:38.348" v="263" actId="1076"/>
          <ac:spMkLst>
            <pc:docMk/>
            <pc:sldMk cId="3950411971" sldId="670"/>
            <ac:spMk id="60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8:14:24.734" v="255"/>
          <ac:spMkLst>
            <pc:docMk/>
            <pc:sldMk cId="3950411971" sldId="670"/>
            <ac:spMk id="61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8:22:01.776" v="564" actId="20577"/>
          <ac:spMkLst>
            <pc:docMk/>
            <pc:sldMk cId="3950411971" sldId="670"/>
            <ac:spMk id="62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8:25:42.429" v="574" actId="1076"/>
          <ac:spMkLst>
            <pc:docMk/>
            <pc:sldMk cId="3950411971" sldId="670"/>
            <ac:spMk id="14338" creationId="{00000000-0000-0000-0000-000000000000}"/>
          </ac:spMkLst>
        </pc:spChg>
        <pc:grpChg chg="mod">
          <ac:chgData name="Bakker, Ronald" userId="a20cb0d3-d839-4381-bfaf-2a45b273c42c" providerId="ADAL" clId="{3BBB24B7-2B37-40E3-8561-535C94773D2C}" dt="2020-06-17T19:42:33.537" v="2616" actId="1038"/>
          <ac:grpSpMkLst>
            <pc:docMk/>
            <pc:sldMk cId="3950411971" sldId="670"/>
            <ac:grpSpMk id="3" creationId="{00000000-0000-0000-0000-000000000000}"/>
          </ac:grpSpMkLst>
        </pc:grpChg>
        <pc:grpChg chg="mod">
          <ac:chgData name="Bakker, Ronald" userId="a20cb0d3-d839-4381-bfaf-2a45b273c42c" providerId="ADAL" clId="{3BBB24B7-2B37-40E3-8561-535C94773D2C}" dt="2020-06-17T19:42:33.537" v="2616" actId="1038"/>
          <ac:grpSpMkLst>
            <pc:docMk/>
            <pc:sldMk cId="3950411971" sldId="670"/>
            <ac:grpSpMk id="4" creationId="{00000000-0000-0000-0000-000000000000}"/>
          </ac:grpSpMkLst>
        </pc:grpChg>
        <pc:grpChg chg="mod">
          <ac:chgData name="Bakker, Ronald" userId="a20cb0d3-d839-4381-bfaf-2a45b273c42c" providerId="ADAL" clId="{3BBB24B7-2B37-40E3-8561-535C94773D2C}" dt="2020-06-17T19:42:33.537" v="2616" actId="1038"/>
          <ac:grpSpMkLst>
            <pc:docMk/>
            <pc:sldMk cId="3950411971" sldId="670"/>
            <ac:grpSpMk id="5" creationId="{00000000-0000-0000-0000-000000000000}"/>
          </ac:grpSpMkLst>
        </pc:grpChg>
        <pc:grpChg chg="mod">
          <ac:chgData name="Bakker, Ronald" userId="a20cb0d3-d839-4381-bfaf-2a45b273c42c" providerId="ADAL" clId="{3BBB24B7-2B37-40E3-8561-535C94773D2C}" dt="2020-06-17T19:42:33.537" v="2616" actId="1038"/>
          <ac:grpSpMkLst>
            <pc:docMk/>
            <pc:sldMk cId="3950411971" sldId="670"/>
            <ac:grpSpMk id="6" creationId="{B8A24871-5DFE-479B-854E-09CE51AFE172}"/>
          </ac:grpSpMkLst>
        </pc:grpChg>
        <pc:grpChg chg="mod">
          <ac:chgData name="Bakker, Ronald" userId="a20cb0d3-d839-4381-bfaf-2a45b273c42c" providerId="ADAL" clId="{3BBB24B7-2B37-40E3-8561-535C94773D2C}" dt="2020-06-17T19:42:33.537" v="2616" actId="1038"/>
          <ac:grpSpMkLst>
            <pc:docMk/>
            <pc:sldMk cId="3950411971" sldId="670"/>
            <ac:grpSpMk id="34" creationId="{B21D0EEA-A5D2-47E1-87C1-8591510B13BD}"/>
          </ac:grpSpMkLst>
        </pc:grpChg>
        <pc:grpChg chg="mod">
          <ac:chgData name="Bakker, Ronald" userId="a20cb0d3-d839-4381-bfaf-2a45b273c42c" providerId="ADAL" clId="{3BBB24B7-2B37-40E3-8561-535C94773D2C}" dt="2020-06-17T19:42:33.537" v="2616" actId="1038"/>
          <ac:grpSpMkLst>
            <pc:docMk/>
            <pc:sldMk cId="3950411971" sldId="670"/>
            <ac:grpSpMk id="49" creationId="{00000000-0000-0000-0000-000000000000}"/>
          </ac:grpSpMkLst>
        </pc:grpChg>
        <pc:picChg chg="mod">
          <ac:chgData name="Bakker, Ronald" userId="a20cb0d3-d839-4381-bfaf-2a45b273c42c" providerId="ADAL" clId="{3BBB24B7-2B37-40E3-8561-535C94773D2C}" dt="2020-06-17T19:11:53.627" v="1398" actId="1036"/>
          <ac:picMkLst>
            <pc:docMk/>
            <pc:sldMk cId="3950411971" sldId="670"/>
            <ac:picMk id="33" creationId="{1927B5F1-82E3-4FC9-886E-0D9BE3E80D63}"/>
          </ac:picMkLst>
        </pc:picChg>
      </pc:sldChg>
      <pc:sldChg chg="addSp delSp modSp add modAnim">
        <pc:chgData name="Bakker, Ronald" userId="a20cb0d3-d839-4381-bfaf-2a45b273c42c" providerId="ADAL" clId="{3BBB24B7-2B37-40E3-8561-535C94773D2C}" dt="2020-06-17T19:40:56.163" v="2411" actId="207"/>
        <pc:sldMkLst>
          <pc:docMk/>
          <pc:sldMk cId="2524065169" sldId="671"/>
        </pc:sldMkLst>
        <pc:spChg chg="mod">
          <ac:chgData name="Bakker, Ronald" userId="a20cb0d3-d839-4381-bfaf-2a45b273c42c" providerId="ADAL" clId="{3BBB24B7-2B37-40E3-8561-535C94773D2C}" dt="2020-06-17T18:25:16.240" v="570" actId="20577"/>
          <ac:spMkLst>
            <pc:docMk/>
            <pc:sldMk cId="2524065169" sldId="671"/>
            <ac:spMk id="2" creationId="{B33114F8-F3CE-4475-A86F-8AD7C2BDDA13}"/>
          </ac:spMkLst>
        </pc:spChg>
        <pc:spChg chg="del mod">
          <ac:chgData name="Bakker, Ronald" userId="a20cb0d3-d839-4381-bfaf-2a45b273c42c" providerId="ADAL" clId="{3BBB24B7-2B37-40E3-8561-535C94773D2C}" dt="2020-06-17T18:30:14.709" v="632" actId="478"/>
          <ac:spMkLst>
            <pc:docMk/>
            <pc:sldMk cId="2524065169" sldId="671"/>
            <ac:spMk id="6" creationId="{243DE443-9156-4BD7-A9D8-D12626FD17E9}"/>
          </ac:spMkLst>
        </pc:spChg>
        <pc:spChg chg="del">
          <ac:chgData name="Bakker, Ronald" userId="a20cb0d3-d839-4381-bfaf-2a45b273c42c" providerId="ADAL" clId="{3BBB24B7-2B37-40E3-8561-535C94773D2C}" dt="2020-06-17T18:30:02.864" v="629" actId="478"/>
          <ac:spMkLst>
            <pc:docMk/>
            <pc:sldMk cId="2524065169" sldId="671"/>
            <ac:spMk id="7" creationId="{3E587CA2-0FE3-4E51-83F1-0DE60C6BFE21}"/>
          </ac:spMkLst>
        </pc:spChg>
        <pc:spChg chg="del">
          <ac:chgData name="Bakker, Ronald" userId="a20cb0d3-d839-4381-bfaf-2a45b273c42c" providerId="ADAL" clId="{3BBB24B7-2B37-40E3-8561-535C94773D2C}" dt="2020-06-17T18:30:07.584" v="630" actId="478"/>
          <ac:spMkLst>
            <pc:docMk/>
            <pc:sldMk cId="2524065169" sldId="671"/>
            <ac:spMk id="8" creationId="{4539F7C6-0C47-44F9-891C-6A42DC1AF269}"/>
          </ac:spMkLst>
        </pc:spChg>
        <pc:spChg chg="del">
          <ac:chgData name="Bakker, Ronald" userId="a20cb0d3-d839-4381-bfaf-2a45b273c42c" providerId="ADAL" clId="{3BBB24B7-2B37-40E3-8561-535C94773D2C}" dt="2020-06-17T18:29:53.308" v="628" actId="478"/>
          <ac:spMkLst>
            <pc:docMk/>
            <pc:sldMk cId="2524065169" sldId="671"/>
            <ac:spMk id="9" creationId="{4D245456-E54D-42E5-BB2A-5FC8C4EFD834}"/>
          </ac:spMkLst>
        </pc:spChg>
        <pc:spChg chg="del">
          <ac:chgData name="Bakker, Ronald" userId="a20cb0d3-d839-4381-bfaf-2a45b273c42c" providerId="ADAL" clId="{3BBB24B7-2B37-40E3-8561-535C94773D2C}" dt="2020-06-17T18:29:49.606" v="627" actId="478"/>
          <ac:spMkLst>
            <pc:docMk/>
            <pc:sldMk cId="2524065169" sldId="671"/>
            <ac:spMk id="10" creationId="{726AABEE-4BE6-4CA8-8B5E-58CBBF0959A4}"/>
          </ac:spMkLst>
        </pc:spChg>
        <pc:spChg chg="del">
          <ac:chgData name="Bakker, Ronald" userId="a20cb0d3-d839-4381-bfaf-2a45b273c42c" providerId="ADAL" clId="{3BBB24B7-2B37-40E3-8561-535C94773D2C}" dt="2020-06-17T18:30:17.793" v="633" actId="478"/>
          <ac:spMkLst>
            <pc:docMk/>
            <pc:sldMk cId="2524065169" sldId="671"/>
            <ac:spMk id="11" creationId="{1AE9DF77-F367-4949-8374-6367D875CBCC}"/>
          </ac:spMkLst>
        </pc:spChg>
        <pc:spChg chg="del">
          <ac:chgData name="Bakker, Ronald" userId="a20cb0d3-d839-4381-bfaf-2a45b273c42c" providerId="ADAL" clId="{3BBB24B7-2B37-40E3-8561-535C94773D2C}" dt="2020-06-17T18:30:20.421" v="634" actId="478"/>
          <ac:spMkLst>
            <pc:docMk/>
            <pc:sldMk cId="2524065169" sldId="671"/>
            <ac:spMk id="13" creationId="{7DB81C6A-AC52-41C7-A075-08B1B3EF3891}"/>
          </ac:spMkLst>
        </pc:spChg>
        <pc:spChg chg="del">
          <ac:chgData name="Bakker, Ronald" userId="a20cb0d3-d839-4381-bfaf-2a45b273c42c" providerId="ADAL" clId="{3BBB24B7-2B37-40E3-8561-535C94773D2C}" dt="2020-06-17T18:29:40.311" v="625" actId="478"/>
          <ac:spMkLst>
            <pc:docMk/>
            <pc:sldMk cId="2524065169" sldId="671"/>
            <ac:spMk id="18" creationId="{8AE6BF78-28D4-41B4-BFED-72B6A601ED8E}"/>
          </ac:spMkLst>
        </pc:spChg>
        <pc:spChg chg="del">
          <ac:chgData name="Bakker, Ronald" userId="a20cb0d3-d839-4381-bfaf-2a45b273c42c" providerId="ADAL" clId="{3BBB24B7-2B37-40E3-8561-535C94773D2C}" dt="2020-06-17T18:32:10.517" v="648" actId="478"/>
          <ac:spMkLst>
            <pc:docMk/>
            <pc:sldMk cId="2524065169" sldId="671"/>
            <ac:spMk id="19" creationId="{48ADCEBA-3C07-4A71-9880-84860BFECD71}"/>
          </ac:spMkLst>
        </pc:spChg>
        <pc:spChg chg="del">
          <ac:chgData name="Bakker, Ronald" userId="a20cb0d3-d839-4381-bfaf-2a45b273c42c" providerId="ADAL" clId="{3BBB24B7-2B37-40E3-8561-535C94773D2C}" dt="2020-06-17T18:32:05.695" v="647" actId="478"/>
          <ac:spMkLst>
            <pc:docMk/>
            <pc:sldMk cId="2524065169" sldId="671"/>
            <ac:spMk id="23" creationId="{12047F65-B3C6-412D-825A-A0D1B9B4A198}"/>
          </ac:spMkLst>
        </pc:spChg>
        <pc:spChg chg="del mod">
          <ac:chgData name="Bakker, Ronald" userId="a20cb0d3-d839-4381-bfaf-2a45b273c42c" providerId="ADAL" clId="{3BBB24B7-2B37-40E3-8561-535C94773D2C}" dt="2020-06-17T18:31:58.917" v="646" actId="478"/>
          <ac:spMkLst>
            <pc:docMk/>
            <pc:sldMk cId="2524065169" sldId="671"/>
            <ac:spMk id="27" creationId="{2F3255C1-01BC-4DB4-8661-418306B588CF}"/>
          </ac:spMkLst>
        </pc:spChg>
        <pc:spChg chg="mod">
          <ac:chgData name="Bakker, Ronald" userId="a20cb0d3-d839-4381-bfaf-2a45b273c42c" providerId="ADAL" clId="{3BBB24B7-2B37-40E3-8561-535C94773D2C}" dt="2020-06-17T18:56:19.313" v="1238" actId="207"/>
          <ac:spMkLst>
            <pc:docMk/>
            <pc:sldMk cId="2524065169" sldId="671"/>
            <ac:spMk id="31" creationId="{8783E034-B1EB-4F56-BE70-BB36ED7555F4}"/>
          </ac:spMkLst>
        </pc:spChg>
        <pc:spChg chg="mod">
          <ac:chgData name="Bakker, Ronald" userId="a20cb0d3-d839-4381-bfaf-2a45b273c42c" providerId="ADAL" clId="{3BBB24B7-2B37-40E3-8561-535C94773D2C}" dt="2020-06-17T18:42:36.568" v="786" actId="208"/>
          <ac:spMkLst>
            <pc:docMk/>
            <pc:sldMk cId="2524065169" sldId="671"/>
            <ac:spMk id="35" creationId="{E1F86CC9-C59D-4EEB-B5C9-71E6095BB1BC}"/>
          </ac:spMkLst>
        </pc:spChg>
        <pc:spChg chg="mod">
          <ac:chgData name="Bakker, Ronald" userId="a20cb0d3-d839-4381-bfaf-2a45b273c42c" providerId="ADAL" clId="{3BBB24B7-2B37-40E3-8561-535C94773D2C}" dt="2020-06-17T18:42:36.568" v="786" actId="208"/>
          <ac:spMkLst>
            <pc:docMk/>
            <pc:sldMk cId="2524065169" sldId="671"/>
            <ac:spMk id="36" creationId="{7F666A3C-F5AD-4A61-BB29-B47BF32AC7E6}"/>
          </ac:spMkLst>
        </pc:spChg>
        <pc:spChg chg="mod">
          <ac:chgData name="Bakker, Ronald" userId="a20cb0d3-d839-4381-bfaf-2a45b273c42c" providerId="ADAL" clId="{3BBB24B7-2B37-40E3-8561-535C94773D2C}" dt="2020-06-17T18:42:36.568" v="786" actId="208"/>
          <ac:spMkLst>
            <pc:docMk/>
            <pc:sldMk cId="2524065169" sldId="671"/>
            <ac:spMk id="37" creationId="{791A368A-99DB-429D-A2C9-1B32B5870710}"/>
          </ac:spMkLst>
        </pc:spChg>
        <pc:spChg chg="add del mod">
          <ac:chgData name="Bakker, Ronald" userId="a20cb0d3-d839-4381-bfaf-2a45b273c42c" providerId="ADAL" clId="{3BBB24B7-2B37-40E3-8561-535C94773D2C}" dt="2020-06-17T18:42:36.568" v="786" actId="208"/>
          <ac:spMkLst>
            <pc:docMk/>
            <pc:sldMk cId="2524065169" sldId="671"/>
            <ac:spMk id="38" creationId="{5090DE7B-98D9-4FBB-A9B8-5AB32B6882E6}"/>
          </ac:spMkLst>
        </pc:spChg>
        <pc:spChg chg="add del">
          <ac:chgData name="Bakker, Ronald" userId="a20cb0d3-d839-4381-bfaf-2a45b273c42c" providerId="ADAL" clId="{3BBB24B7-2B37-40E3-8561-535C94773D2C}" dt="2020-06-17T18:29:36.822" v="624" actId="478"/>
          <ac:spMkLst>
            <pc:docMk/>
            <pc:sldMk cId="2524065169" sldId="671"/>
            <ac:spMk id="39" creationId="{6DB4D474-B9CE-4743-8328-90B877FEAD27}"/>
          </ac:spMkLst>
        </pc:spChg>
        <pc:spChg chg="del">
          <ac:chgData name="Bakker, Ronald" userId="a20cb0d3-d839-4381-bfaf-2a45b273c42c" providerId="ADAL" clId="{3BBB24B7-2B37-40E3-8561-535C94773D2C}" dt="2020-06-17T18:30:26.660" v="637" actId="478"/>
          <ac:spMkLst>
            <pc:docMk/>
            <pc:sldMk cId="2524065169" sldId="671"/>
            <ac:spMk id="40" creationId="{82D9BDE9-B960-4ADB-853D-8F65AADD9B83}"/>
          </ac:spMkLst>
        </pc:spChg>
        <pc:spChg chg="add mod ord">
          <ac:chgData name="Bakker, Ronald" userId="a20cb0d3-d839-4381-bfaf-2a45b273c42c" providerId="ADAL" clId="{3BBB24B7-2B37-40E3-8561-535C94773D2C}" dt="2020-06-17T18:43:17.316" v="835" actId="20577"/>
          <ac:spMkLst>
            <pc:docMk/>
            <pc:sldMk cId="2524065169" sldId="671"/>
            <ac:spMk id="54" creationId="{0EE8D41D-3B68-4B24-8DC5-F109F6D4E815}"/>
          </ac:spMkLst>
        </pc:spChg>
        <pc:spChg chg="add ord">
          <ac:chgData name="Bakker, Ronald" userId="a20cb0d3-d839-4381-bfaf-2a45b273c42c" providerId="ADAL" clId="{3BBB24B7-2B37-40E3-8561-535C94773D2C}" dt="2020-06-17T18:26:09.467" v="576" actId="167"/>
          <ac:spMkLst>
            <pc:docMk/>
            <pc:sldMk cId="2524065169" sldId="671"/>
            <ac:spMk id="55" creationId="{D1741E27-65B1-4985-A573-4359D8ECADCC}"/>
          </ac:spMkLst>
        </pc:spChg>
        <pc:spChg chg="add mod">
          <ac:chgData name="Bakker, Ronald" userId="a20cb0d3-d839-4381-bfaf-2a45b273c42c" providerId="ADAL" clId="{3BBB24B7-2B37-40E3-8561-535C94773D2C}" dt="2020-06-17T18:28:01.050" v="617" actId="20577"/>
          <ac:spMkLst>
            <pc:docMk/>
            <pc:sldMk cId="2524065169" sldId="671"/>
            <ac:spMk id="56" creationId="{A287DFFB-F831-48A7-B5BD-0CA617E00D00}"/>
          </ac:spMkLst>
        </pc:spChg>
        <pc:spChg chg="add mod">
          <ac:chgData name="Bakker, Ronald" userId="a20cb0d3-d839-4381-bfaf-2a45b273c42c" providerId="ADAL" clId="{3BBB24B7-2B37-40E3-8561-535C94773D2C}" dt="2020-06-17T18:27:54.991" v="610" actId="20577"/>
          <ac:spMkLst>
            <pc:docMk/>
            <pc:sldMk cId="2524065169" sldId="671"/>
            <ac:spMk id="57" creationId="{D652E9A1-927A-4E2E-8A01-F0CDC1E3B5C3}"/>
          </ac:spMkLst>
        </pc:spChg>
        <pc:spChg chg="add del">
          <ac:chgData name="Bakker, Ronald" userId="a20cb0d3-d839-4381-bfaf-2a45b273c42c" providerId="ADAL" clId="{3BBB24B7-2B37-40E3-8561-535C94773D2C}" dt="2020-06-17T18:39:14.788" v="655"/>
          <ac:spMkLst>
            <pc:docMk/>
            <pc:sldMk cId="2524065169" sldId="671"/>
            <ac:spMk id="58" creationId="{8B9837EC-3556-4C12-9165-946121C75284}"/>
          </ac:spMkLst>
        </pc:spChg>
        <pc:spChg chg="add del">
          <ac:chgData name="Bakker, Ronald" userId="a20cb0d3-d839-4381-bfaf-2a45b273c42c" providerId="ADAL" clId="{3BBB24B7-2B37-40E3-8561-535C94773D2C}" dt="2020-06-17T18:39:14.788" v="655"/>
          <ac:spMkLst>
            <pc:docMk/>
            <pc:sldMk cId="2524065169" sldId="671"/>
            <ac:spMk id="59" creationId="{38319631-D942-40EB-952F-8896C5506778}"/>
          </ac:spMkLst>
        </pc:spChg>
        <pc:spChg chg="add del">
          <ac:chgData name="Bakker, Ronald" userId="a20cb0d3-d839-4381-bfaf-2a45b273c42c" providerId="ADAL" clId="{3BBB24B7-2B37-40E3-8561-535C94773D2C}" dt="2020-06-17T18:39:14.788" v="655"/>
          <ac:spMkLst>
            <pc:docMk/>
            <pc:sldMk cId="2524065169" sldId="671"/>
            <ac:spMk id="61" creationId="{6310FB91-37F9-433D-AFC8-B7D6B50C408C}"/>
          </ac:spMkLst>
        </pc:spChg>
        <pc:spChg chg="add del">
          <ac:chgData name="Bakker, Ronald" userId="a20cb0d3-d839-4381-bfaf-2a45b273c42c" providerId="ADAL" clId="{3BBB24B7-2B37-40E3-8561-535C94773D2C}" dt="2020-06-17T18:39:14.788" v="655"/>
          <ac:spMkLst>
            <pc:docMk/>
            <pc:sldMk cId="2524065169" sldId="671"/>
            <ac:spMk id="62" creationId="{31DA2AAB-82EC-47A6-97D8-454A135B9071}"/>
          </ac:spMkLst>
        </pc:spChg>
        <pc:spChg chg="add del">
          <ac:chgData name="Bakker, Ronald" userId="a20cb0d3-d839-4381-bfaf-2a45b273c42c" providerId="ADAL" clId="{3BBB24B7-2B37-40E3-8561-535C94773D2C}" dt="2020-06-17T18:39:23.263" v="657"/>
          <ac:spMkLst>
            <pc:docMk/>
            <pc:sldMk cId="2524065169" sldId="671"/>
            <ac:spMk id="63" creationId="{28421E68-13E0-4161-9C4C-A2F00952798F}"/>
          </ac:spMkLst>
        </pc:spChg>
        <pc:spChg chg="add mod">
          <ac:chgData name="Bakker, Ronald" userId="a20cb0d3-d839-4381-bfaf-2a45b273c42c" providerId="ADAL" clId="{3BBB24B7-2B37-40E3-8561-535C94773D2C}" dt="2020-06-17T18:57:21.039" v="1242" actId="14861"/>
          <ac:spMkLst>
            <pc:docMk/>
            <pc:sldMk cId="2524065169" sldId="671"/>
            <ac:spMk id="64" creationId="{F21404FF-CF92-4428-AC3A-BDF83A73ABF2}"/>
          </ac:spMkLst>
        </pc:spChg>
        <pc:spChg chg="add mod">
          <ac:chgData name="Bakker, Ronald" userId="a20cb0d3-d839-4381-bfaf-2a45b273c42c" providerId="ADAL" clId="{3BBB24B7-2B37-40E3-8561-535C94773D2C}" dt="2020-06-17T18:57:30.061" v="1243" actId="14861"/>
          <ac:spMkLst>
            <pc:docMk/>
            <pc:sldMk cId="2524065169" sldId="671"/>
            <ac:spMk id="68" creationId="{692AEF9E-0C99-4C4A-A27A-D2AD692DC03D}"/>
          </ac:spMkLst>
        </pc:spChg>
        <pc:spChg chg="add mod">
          <ac:chgData name="Bakker, Ronald" userId="a20cb0d3-d839-4381-bfaf-2a45b273c42c" providerId="ADAL" clId="{3BBB24B7-2B37-40E3-8561-535C94773D2C}" dt="2020-06-17T18:57:30.061" v="1243" actId="14861"/>
          <ac:spMkLst>
            <pc:docMk/>
            <pc:sldMk cId="2524065169" sldId="671"/>
            <ac:spMk id="72" creationId="{5ABC8646-60CE-4DA7-A736-F692C964A014}"/>
          </ac:spMkLst>
        </pc:spChg>
        <pc:spChg chg="mod">
          <ac:chgData name="Bakker, Ronald" userId="a20cb0d3-d839-4381-bfaf-2a45b273c42c" providerId="ADAL" clId="{3BBB24B7-2B37-40E3-8561-535C94773D2C}" dt="2020-06-17T19:40:56.163" v="2411" actId="207"/>
          <ac:spMkLst>
            <pc:docMk/>
            <pc:sldMk cId="2524065169" sldId="671"/>
            <ac:spMk id="79" creationId="{BE777B9D-EDA3-4950-9045-7E121934E567}"/>
          </ac:spMkLst>
        </pc:spChg>
        <pc:spChg chg="mod">
          <ac:chgData name="Bakker, Ronald" userId="a20cb0d3-d839-4381-bfaf-2a45b273c42c" providerId="ADAL" clId="{3BBB24B7-2B37-40E3-8561-535C94773D2C}" dt="2020-06-17T19:40:46.678" v="2409" actId="207"/>
          <ac:spMkLst>
            <pc:docMk/>
            <pc:sldMk cId="2524065169" sldId="671"/>
            <ac:spMk id="81" creationId="{4AA43C78-2280-4E07-9CC9-F6224EE7BE5C}"/>
          </ac:spMkLst>
        </pc:spChg>
        <pc:spChg chg="mod">
          <ac:chgData name="Bakker, Ronald" userId="a20cb0d3-d839-4381-bfaf-2a45b273c42c" providerId="ADAL" clId="{3BBB24B7-2B37-40E3-8561-535C94773D2C}" dt="2020-06-17T19:40:51.647" v="2410" actId="207"/>
          <ac:spMkLst>
            <pc:docMk/>
            <pc:sldMk cId="2524065169" sldId="671"/>
            <ac:spMk id="87" creationId="{FB934476-6931-455D-889F-3E97277727B3}"/>
          </ac:spMkLst>
        </pc:spChg>
        <pc:spChg chg="add mod">
          <ac:chgData name="Bakker, Ronald" userId="a20cb0d3-d839-4381-bfaf-2a45b273c42c" providerId="ADAL" clId="{3BBB24B7-2B37-40E3-8561-535C94773D2C}" dt="2020-06-17T18:57:45.976" v="1244" actId="14861"/>
          <ac:spMkLst>
            <pc:docMk/>
            <pc:sldMk cId="2524065169" sldId="671"/>
            <ac:spMk id="90" creationId="{40E6BA8D-886C-4443-AA94-E7C124FBAEB4}"/>
          </ac:spMkLst>
        </pc:spChg>
        <pc:spChg chg="add mod">
          <ac:chgData name="Bakker, Ronald" userId="a20cb0d3-d839-4381-bfaf-2a45b273c42c" providerId="ADAL" clId="{3BBB24B7-2B37-40E3-8561-535C94773D2C}" dt="2020-06-17T18:57:45.976" v="1244" actId="14861"/>
          <ac:spMkLst>
            <pc:docMk/>
            <pc:sldMk cId="2524065169" sldId="671"/>
            <ac:spMk id="91" creationId="{046CF009-E6E5-400E-A12E-F53EC120F1CE}"/>
          </ac:spMkLst>
        </pc:spChg>
        <pc:spChg chg="add mod">
          <ac:chgData name="Bakker, Ronald" userId="a20cb0d3-d839-4381-bfaf-2a45b273c42c" providerId="ADAL" clId="{3BBB24B7-2B37-40E3-8561-535C94773D2C}" dt="2020-06-17T18:57:45.976" v="1244" actId="14861"/>
          <ac:spMkLst>
            <pc:docMk/>
            <pc:sldMk cId="2524065169" sldId="671"/>
            <ac:spMk id="92" creationId="{F2B7D6C4-A1AA-4064-A50E-EF8FA14A9605}"/>
          </ac:spMkLst>
        </pc:spChg>
        <pc:spChg chg="add mod">
          <ac:chgData name="Bakker, Ronald" userId="a20cb0d3-d839-4381-bfaf-2a45b273c42c" providerId="ADAL" clId="{3BBB24B7-2B37-40E3-8561-535C94773D2C}" dt="2020-06-17T18:57:45.976" v="1244" actId="14861"/>
          <ac:spMkLst>
            <pc:docMk/>
            <pc:sldMk cId="2524065169" sldId="671"/>
            <ac:spMk id="93" creationId="{321D7E0A-6F0A-4E42-A9E8-D3FA787198D2}"/>
          </ac:spMkLst>
        </pc:spChg>
        <pc:grpChg chg="add del mod">
          <ac:chgData name="Bakker, Ronald" userId="a20cb0d3-d839-4381-bfaf-2a45b273c42c" providerId="ADAL" clId="{3BBB24B7-2B37-40E3-8561-535C94773D2C}" dt="2020-06-17T18:40:50.134" v="775" actId="165"/>
          <ac:grpSpMkLst>
            <pc:docMk/>
            <pc:sldMk cId="2524065169" sldId="671"/>
            <ac:grpSpMk id="3" creationId="{EC33999A-10CD-46DE-948C-E3072F954579}"/>
          </ac:grpSpMkLst>
        </pc:grpChg>
        <pc:grpChg chg="mod topLvl">
          <ac:chgData name="Bakker, Ronald" userId="a20cb0d3-d839-4381-bfaf-2a45b273c42c" providerId="ADAL" clId="{3BBB24B7-2B37-40E3-8561-535C94773D2C}" dt="2020-06-17T18:43:31.731" v="845" actId="1038"/>
          <ac:grpSpMkLst>
            <pc:docMk/>
            <pc:sldMk cId="2524065169" sldId="671"/>
            <ac:grpSpMk id="4" creationId="{D825E2F5-C9F6-40A1-920A-AE29072C370F}"/>
          </ac:grpSpMkLst>
        </pc:grpChg>
        <pc:grpChg chg="del">
          <ac:chgData name="Bakker, Ronald" userId="a20cb0d3-d839-4381-bfaf-2a45b273c42c" providerId="ADAL" clId="{3BBB24B7-2B37-40E3-8561-535C94773D2C}" dt="2020-06-17T18:38:59.481" v="653" actId="478"/>
          <ac:grpSpMkLst>
            <pc:docMk/>
            <pc:sldMk cId="2524065169" sldId="671"/>
            <ac:grpSpMk id="12" creationId="{A02EADF2-F6EE-4D2A-8FD1-010A4E644504}"/>
          </ac:grpSpMkLst>
        </pc:grpChg>
        <pc:grpChg chg="mod topLvl">
          <ac:chgData name="Bakker, Ronald" userId="a20cb0d3-d839-4381-bfaf-2a45b273c42c" providerId="ADAL" clId="{3BBB24B7-2B37-40E3-8561-535C94773D2C}" dt="2020-06-17T18:41:14.689" v="778" actId="164"/>
          <ac:grpSpMkLst>
            <pc:docMk/>
            <pc:sldMk cId="2524065169" sldId="671"/>
            <ac:grpSpMk id="14" creationId="{20812078-64B3-4CB3-90F8-3A94FD61D426}"/>
          </ac:grpSpMkLst>
        </pc:grpChg>
        <pc:grpChg chg="del">
          <ac:chgData name="Bakker, Ronald" userId="a20cb0d3-d839-4381-bfaf-2a45b273c42c" providerId="ADAL" clId="{3BBB24B7-2B37-40E3-8561-535C94773D2C}" dt="2020-06-17T18:38:34.713" v="651" actId="478"/>
          <ac:grpSpMkLst>
            <pc:docMk/>
            <pc:sldMk cId="2524065169" sldId="671"/>
            <ac:grpSpMk id="15" creationId="{A3F1AF25-CF90-4443-A379-258CC20DB181}"/>
          </ac:grpSpMkLst>
        </pc:grpChg>
        <pc:grpChg chg="del">
          <ac:chgData name="Bakker, Ronald" userId="a20cb0d3-d839-4381-bfaf-2a45b273c42c" providerId="ADAL" clId="{3BBB24B7-2B37-40E3-8561-535C94773D2C}" dt="2020-06-17T18:38:52.917" v="652" actId="478"/>
          <ac:grpSpMkLst>
            <pc:docMk/>
            <pc:sldMk cId="2524065169" sldId="671"/>
            <ac:grpSpMk id="16" creationId="{515F60CE-DE53-4D48-B61D-724E69B0C56C}"/>
          </ac:grpSpMkLst>
        </pc:grpChg>
        <pc:grpChg chg="del">
          <ac:chgData name="Bakker, Ronald" userId="a20cb0d3-d839-4381-bfaf-2a45b273c42c" providerId="ADAL" clId="{3BBB24B7-2B37-40E3-8561-535C94773D2C}" dt="2020-06-17T18:38:59.481" v="653" actId="478"/>
          <ac:grpSpMkLst>
            <pc:docMk/>
            <pc:sldMk cId="2524065169" sldId="671"/>
            <ac:grpSpMk id="17" creationId="{09344157-7CA3-4C24-8C3A-4C31AE562186}"/>
          </ac:grpSpMkLst>
        </pc:grpChg>
        <pc:grpChg chg="add del ord">
          <ac:chgData name="Bakker, Ronald" userId="a20cb0d3-d839-4381-bfaf-2a45b273c42c" providerId="ADAL" clId="{3BBB24B7-2B37-40E3-8561-535C94773D2C}" dt="2020-06-17T18:26:51.311" v="582" actId="478"/>
          <ac:grpSpMkLst>
            <pc:docMk/>
            <pc:sldMk cId="2524065169" sldId="671"/>
            <ac:grpSpMk id="41" creationId="{99D698DF-E7DA-4E7B-92BB-0DDD0B690291}"/>
          </ac:grpSpMkLst>
        </pc:grpChg>
        <pc:grpChg chg="add mod">
          <ac:chgData name="Bakker, Ronald" userId="a20cb0d3-d839-4381-bfaf-2a45b273c42c" providerId="ADAL" clId="{3BBB24B7-2B37-40E3-8561-535C94773D2C}" dt="2020-06-17T19:13:44.058" v="1405" actId="207"/>
          <ac:grpSpMkLst>
            <pc:docMk/>
            <pc:sldMk cId="2524065169" sldId="671"/>
            <ac:grpSpMk id="76" creationId="{6DFAE4B3-3FFD-477C-B29B-AD5D20A01680}"/>
          </ac:grpSpMkLst>
        </pc:grpChg>
        <pc:grpChg chg="add ord">
          <ac:chgData name="Bakker, Ronald" userId="a20cb0d3-d839-4381-bfaf-2a45b273c42c" providerId="ADAL" clId="{3BBB24B7-2B37-40E3-8561-535C94773D2C}" dt="2020-06-17T18:41:48.460" v="783" actId="167"/>
          <ac:grpSpMkLst>
            <pc:docMk/>
            <pc:sldMk cId="2524065169" sldId="671"/>
            <ac:grpSpMk id="77" creationId="{EDF6395E-68AC-4DE1-84C5-4D2CE3FE3E9F}"/>
          </ac:grpSpMkLst>
        </pc:grpChg>
        <pc:picChg chg="del">
          <ac:chgData name="Bakker, Ronald" userId="a20cb0d3-d839-4381-bfaf-2a45b273c42c" providerId="ADAL" clId="{3BBB24B7-2B37-40E3-8561-535C94773D2C}" dt="2020-06-17T18:29:44.702" v="626" actId="478"/>
          <ac:picMkLst>
            <pc:docMk/>
            <pc:sldMk cId="2524065169" sldId="671"/>
            <ac:picMk id="5" creationId="{9C20E603-E5D3-49D6-9BAD-514DFC4F62F5}"/>
          </ac:picMkLst>
        </pc:picChg>
        <pc:cxnChg chg="del">
          <ac:chgData name="Bakker, Ronald" userId="a20cb0d3-d839-4381-bfaf-2a45b273c42c" providerId="ADAL" clId="{3BBB24B7-2B37-40E3-8561-535C94773D2C}" dt="2020-06-17T18:38:59.481" v="653" actId="478"/>
          <ac:cxnSpMkLst>
            <pc:docMk/>
            <pc:sldMk cId="2524065169" sldId="671"/>
            <ac:cxnSpMk id="20" creationId="{D2330438-4F4B-4B6B-B663-E9D1743238DE}"/>
          </ac:cxnSpMkLst>
        </pc:cxnChg>
        <pc:cxnChg chg="del">
          <ac:chgData name="Bakker, Ronald" userId="a20cb0d3-d839-4381-bfaf-2a45b273c42c" providerId="ADAL" clId="{3BBB24B7-2B37-40E3-8561-535C94773D2C}" dt="2020-06-17T18:38:59.481" v="653" actId="478"/>
          <ac:cxnSpMkLst>
            <pc:docMk/>
            <pc:sldMk cId="2524065169" sldId="671"/>
            <ac:cxnSpMk id="21" creationId="{7F09E463-59CD-4CFA-8B8A-2C81181C5AC4}"/>
          </ac:cxnSpMkLst>
        </pc:cxnChg>
        <pc:cxnChg chg="del">
          <ac:chgData name="Bakker, Ronald" userId="a20cb0d3-d839-4381-bfaf-2a45b273c42c" providerId="ADAL" clId="{3BBB24B7-2B37-40E3-8561-535C94773D2C}" dt="2020-06-17T18:38:59.481" v="653" actId="478"/>
          <ac:cxnSpMkLst>
            <pc:docMk/>
            <pc:sldMk cId="2524065169" sldId="671"/>
            <ac:cxnSpMk id="22" creationId="{5E605302-6016-4576-A4BC-E8EDA2EE66D8}"/>
          </ac:cxnSpMkLst>
        </pc:cxnChg>
        <pc:cxnChg chg="del">
          <ac:chgData name="Bakker, Ronald" userId="a20cb0d3-d839-4381-bfaf-2a45b273c42c" providerId="ADAL" clId="{3BBB24B7-2B37-40E3-8561-535C94773D2C}" dt="2020-06-17T18:38:52.917" v="652" actId="478"/>
          <ac:cxnSpMkLst>
            <pc:docMk/>
            <pc:sldMk cId="2524065169" sldId="671"/>
            <ac:cxnSpMk id="24" creationId="{F54116FA-4F7C-4621-8BCF-B0F17769A1FD}"/>
          </ac:cxnSpMkLst>
        </pc:cxnChg>
        <pc:cxnChg chg="del">
          <ac:chgData name="Bakker, Ronald" userId="a20cb0d3-d839-4381-bfaf-2a45b273c42c" providerId="ADAL" clId="{3BBB24B7-2B37-40E3-8561-535C94773D2C}" dt="2020-06-17T18:38:52.917" v="652" actId="478"/>
          <ac:cxnSpMkLst>
            <pc:docMk/>
            <pc:sldMk cId="2524065169" sldId="671"/>
            <ac:cxnSpMk id="25" creationId="{B3C9343E-4847-4258-A900-BD625D86D608}"/>
          </ac:cxnSpMkLst>
        </pc:cxnChg>
        <pc:cxnChg chg="del">
          <ac:chgData name="Bakker, Ronald" userId="a20cb0d3-d839-4381-bfaf-2a45b273c42c" providerId="ADAL" clId="{3BBB24B7-2B37-40E3-8561-535C94773D2C}" dt="2020-06-17T18:38:52.917" v="652" actId="478"/>
          <ac:cxnSpMkLst>
            <pc:docMk/>
            <pc:sldMk cId="2524065169" sldId="671"/>
            <ac:cxnSpMk id="26" creationId="{3FBF8682-85A2-4B67-91F5-CE77DF8328A8}"/>
          </ac:cxnSpMkLst>
        </pc:cxnChg>
        <pc:cxnChg chg="del">
          <ac:chgData name="Bakker, Ronald" userId="a20cb0d3-d839-4381-bfaf-2a45b273c42c" providerId="ADAL" clId="{3BBB24B7-2B37-40E3-8561-535C94773D2C}" dt="2020-06-17T18:38:34.713" v="651" actId="478"/>
          <ac:cxnSpMkLst>
            <pc:docMk/>
            <pc:sldMk cId="2524065169" sldId="671"/>
            <ac:cxnSpMk id="28" creationId="{824DF19C-947F-42E9-AB7A-E2C4F160FF14}"/>
          </ac:cxnSpMkLst>
        </pc:cxnChg>
        <pc:cxnChg chg="del">
          <ac:chgData name="Bakker, Ronald" userId="a20cb0d3-d839-4381-bfaf-2a45b273c42c" providerId="ADAL" clId="{3BBB24B7-2B37-40E3-8561-535C94773D2C}" dt="2020-06-17T18:38:34.713" v="651" actId="478"/>
          <ac:cxnSpMkLst>
            <pc:docMk/>
            <pc:sldMk cId="2524065169" sldId="671"/>
            <ac:cxnSpMk id="29" creationId="{693575AF-B18E-49FE-92E4-6182B32493BC}"/>
          </ac:cxnSpMkLst>
        </pc:cxnChg>
        <pc:cxnChg chg="del">
          <ac:chgData name="Bakker, Ronald" userId="a20cb0d3-d839-4381-bfaf-2a45b273c42c" providerId="ADAL" clId="{3BBB24B7-2B37-40E3-8561-535C94773D2C}" dt="2020-06-17T18:38:34.713" v="651" actId="478"/>
          <ac:cxnSpMkLst>
            <pc:docMk/>
            <pc:sldMk cId="2524065169" sldId="671"/>
            <ac:cxnSpMk id="30" creationId="{3158955D-505C-40C5-A5C9-4A1F8186996C}"/>
          </ac:cxnSpMkLst>
        </pc:cxnChg>
        <pc:cxnChg chg="mod">
          <ac:chgData name="Bakker, Ronald" userId="a20cb0d3-d839-4381-bfaf-2a45b273c42c" providerId="ADAL" clId="{3BBB24B7-2B37-40E3-8561-535C94773D2C}" dt="2020-06-17T19:37:04.448" v="2394" actId="692"/>
          <ac:cxnSpMkLst>
            <pc:docMk/>
            <pc:sldMk cId="2524065169" sldId="671"/>
            <ac:cxnSpMk id="32" creationId="{9EBC6801-7803-46C0-A1B7-B24187517DC0}"/>
          </ac:cxnSpMkLst>
        </pc:cxnChg>
        <pc:cxnChg chg="mod">
          <ac:chgData name="Bakker, Ronald" userId="a20cb0d3-d839-4381-bfaf-2a45b273c42c" providerId="ADAL" clId="{3BBB24B7-2B37-40E3-8561-535C94773D2C}" dt="2020-06-17T19:37:04.448" v="2394" actId="692"/>
          <ac:cxnSpMkLst>
            <pc:docMk/>
            <pc:sldMk cId="2524065169" sldId="671"/>
            <ac:cxnSpMk id="33" creationId="{28DFEB8D-3701-44FB-A1B3-95B7437FAF47}"/>
          </ac:cxnSpMkLst>
        </pc:cxnChg>
        <pc:cxnChg chg="mod">
          <ac:chgData name="Bakker, Ronald" userId="a20cb0d3-d839-4381-bfaf-2a45b273c42c" providerId="ADAL" clId="{3BBB24B7-2B37-40E3-8561-535C94773D2C}" dt="2020-06-17T19:37:04.448" v="2394" actId="692"/>
          <ac:cxnSpMkLst>
            <pc:docMk/>
            <pc:sldMk cId="2524065169" sldId="671"/>
            <ac:cxnSpMk id="34" creationId="{9B2685DC-2D34-41F7-878D-7A946A63B485}"/>
          </ac:cxnSpMkLst>
        </pc:cxnChg>
        <pc:cxnChg chg="add del">
          <ac:chgData name="Bakker, Ronald" userId="a20cb0d3-d839-4381-bfaf-2a45b273c42c" providerId="ADAL" clId="{3BBB24B7-2B37-40E3-8561-535C94773D2C}" dt="2020-06-17T18:39:14.788" v="655"/>
          <ac:cxnSpMkLst>
            <pc:docMk/>
            <pc:sldMk cId="2524065169" sldId="671"/>
            <ac:cxnSpMk id="60" creationId="{1B0A1B36-55CE-4AFC-8333-0587EAC41365}"/>
          </ac:cxnSpMkLst>
        </pc:cxnChg>
        <pc:cxnChg chg="add mod">
          <ac:chgData name="Bakker, Ronald" userId="a20cb0d3-d839-4381-bfaf-2a45b273c42c" providerId="ADAL" clId="{3BBB24B7-2B37-40E3-8561-535C94773D2C}" dt="2020-06-17T19:37:04.448" v="2394" actId="692"/>
          <ac:cxnSpMkLst>
            <pc:docMk/>
            <pc:sldMk cId="2524065169" sldId="671"/>
            <ac:cxnSpMk id="65" creationId="{88F5568A-7FE3-4831-92E9-9EA0A11DA1A5}"/>
          </ac:cxnSpMkLst>
        </pc:cxnChg>
        <pc:cxnChg chg="add mod">
          <ac:chgData name="Bakker, Ronald" userId="a20cb0d3-d839-4381-bfaf-2a45b273c42c" providerId="ADAL" clId="{3BBB24B7-2B37-40E3-8561-535C94773D2C}" dt="2020-06-17T19:37:04.448" v="2394" actId="692"/>
          <ac:cxnSpMkLst>
            <pc:docMk/>
            <pc:sldMk cId="2524065169" sldId="671"/>
            <ac:cxnSpMk id="66" creationId="{4587C009-35AB-4D28-BA1B-8F4BD800B247}"/>
          </ac:cxnSpMkLst>
        </pc:cxnChg>
        <pc:cxnChg chg="add mod">
          <ac:chgData name="Bakker, Ronald" userId="a20cb0d3-d839-4381-bfaf-2a45b273c42c" providerId="ADAL" clId="{3BBB24B7-2B37-40E3-8561-535C94773D2C}" dt="2020-06-17T19:37:04.448" v="2394" actId="692"/>
          <ac:cxnSpMkLst>
            <pc:docMk/>
            <pc:sldMk cId="2524065169" sldId="671"/>
            <ac:cxnSpMk id="67" creationId="{E4E0B49E-4058-4746-A496-9E4DF65E995E}"/>
          </ac:cxnSpMkLst>
        </pc:cxnChg>
        <pc:cxnChg chg="add mod">
          <ac:chgData name="Bakker, Ronald" userId="a20cb0d3-d839-4381-bfaf-2a45b273c42c" providerId="ADAL" clId="{3BBB24B7-2B37-40E3-8561-535C94773D2C}" dt="2020-06-17T19:37:04.448" v="2394" actId="692"/>
          <ac:cxnSpMkLst>
            <pc:docMk/>
            <pc:sldMk cId="2524065169" sldId="671"/>
            <ac:cxnSpMk id="69" creationId="{EB7BB44A-AC19-4631-B6D3-1AF1B69FB6EC}"/>
          </ac:cxnSpMkLst>
        </pc:cxnChg>
        <pc:cxnChg chg="add mod">
          <ac:chgData name="Bakker, Ronald" userId="a20cb0d3-d839-4381-bfaf-2a45b273c42c" providerId="ADAL" clId="{3BBB24B7-2B37-40E3-8561-535C94773D2C}" dt="2020-06-17T19:37:04.448" v="2394" actId="692"/>
          <ac:cxnSpMkLst>
            <pc:docMk/>
            <pc:sldMk cId="2524065169" sldId="671"/>
            <ac:cxnSpMk id="70" creationId="{53E77660-6F0F-4E03-96D4-CC2BFBE7D52E}"/>
          </ac:cxnSpMkLst>
        </pc:cxnChg>
        <pc:cxnChg chg="add mod">
          <ac:chgData name="Bakker, Ronald" userId="a20cb0d3-d839-4381-bfaf-2a45b273c42c" providerId="ADAL" clId="{3BBB24B7-2B37-40E3-8561-535C94773D2C}" dt="2020-06-17T19:37:04.448" v="2394" actId="692"/>
          <ac:cxnSpMkLst>
            <pc:docMk/>
            <pc:sldMk cId="2524065169" sldId="671"/>
            <ac:cxnSpMk id="71" creationId="{B6391A12-CB20-4265-8340-9CB36CC5A121}"/>
          </ac:cxnSpMkLst>
        </pc:cxnChg>
        <pc:cxnChg chg="add mod">
          <ac:chgData name="Bakker, Ronald" userId="a20cb0d3-d839-4381-bfaf-2a45b273c42c" providerId="ADAL" clId="{3BBB24B7-2B37-40E3-8561-535C94773D2C}" dt="2020-06-17T19:37:04.448" v="2394" actId="692"/>
          <ac:cxnSpMkLst>
            <pc:docMk/>
            <pc:sldMk cId="2524065169" sldId="671"/>
            <ac:cxnSpMk id="73" creationId="{C99AED47-1EDC-49F8-B9AF-12746F73F30A}"/>
          </ac:cxnSpMkLst>
        </pc:cxnChg>
        <pc:cxnChg chg="add mod">
          <ac:chgData name="Bakker, Ronald" userId="a20cb0d3-d839-4381-bfaf-2a45b273c42c" providerId="ADAL" clId="{3BBB24B7-2B37-40E3-8561-535C94773D2C}" dt="2020-06-17T19:37:04.448" v="2394" actId="692"/>
          <ac:cxnSpMkLst>
            <pc:docMk/>
            <pc:sldMk cId="2524065169" sldId="671"/>
            <ac:cxnSpMk id="74" creationId="{AB85ACA3-8CDA-4CD9-8869-0809D4BB8C51}"/>
          </ac:cxnSpMkLst>
        </pc:cxnChg>
        <pc:cxnChg chg="add mod">
          <ac:chgData name="Bakker, Ronald" userId="a20cb0d3-d839-4381-bfaf-2a45b273c42c" providerId="ADAL" clId="{3BBB24B7-2B37-40E3-8561-535C94773D2C}" dt="2020-06-17T19:37:04.448" v="2394" actId="692"/>
          <ac:cxnSpMkLst>
            <pc:docMk/>
            <pc:sldMk cId="2524065169" sldId="671"/>
            <ac:cxnSpMk id="75" creationId="{9A0A6A59-FC47-41EF-89B1-79C773A4EF61}"/>
          </ac:cxnSpMkLst>
        </pc:cxnChg>
      </pc:sldChg>
      <pc:sldChg chg="addSp delSp add del">
        <pc:chgData name="Bakker, Ronald" userId="a20cb0d3-d839-4381-bfaf-2a45b273c42c" providerId="ADAL" clId="{3BBB24B7-2B37-40E3-8561-535C94773D2C}" dt="2020-06-17T19:04:05.450" v="1270" actId="2696"/>
        <pc:sldMkLst>
          <pc:docMk/>
          <pc:sldMk cId="293262442" sldId="672"/>
        </pc:sldMkLst>
        <pc:spChg chg="add del">
          <ac:chgData name="Bakker, Ronald" userId="a20cb0d3-d839-4381-bfaf-2a45b273c42c" providerId="ADAL" clId="{3BBB24B7-2B37-40E3-8561-535C94773D2C}" dt="2020-06-17T18:28:56.442" v="622"/>
          <ac:spMkLst>
            <pc:docMk/>
            <pc:sldMk cId="293262442" sldId="672"/>
            <ac:spMk id="3" creationId="{A9CEC1F5-E7B6-4D7C-B9F6-182EE62CEAF5}"/>
          </ac:spMkLst>
        </pc:spChg>
        <pc:spChg chg="add del">
          <ac:chgData name="Bakker, Ronald" userId="a20cb0d3-d839-4381-bfaf-2a45b273c42c" providerId="ADAL" clId="{3BBB24B7-2B37-40E3-8561-535C94773D2C}" dt="2020-06-17T18:28:56.442" v="622"/>
          <ac:spMkLst>
            <pc:docMk/>
            <pc:sldMk cId="293262442" sldId="672"/>
            <ac:spMk id="6" creationId="{493DDF2F-CD25-490A-A9BC-24677CD96EA1}"/>
          </ac:spMkLst>
        </pc:spChg>
        <pc:spChg chg="add">
          <ac:chgData name="Bakker, Ronald" userId="a20cb0d3-d839-4381-bfaf-2a45b273c42c" providerId="ADAL" clId="{3BBB24B7-2B37-40E3-8561-535C94773D2C}" dt="2020-06-17T18:29:27.739" v="623"/>
          <ac:spMkLst>
            <pc:docMk/>
            <pc:sldMk cId="293262442" sldId="672"/>
            <ac:spMk id="7" creationId="{FE3E9100-E1F8-475A-9C78-394F3D089568}"/>
          </ac:spMkLst>
        </pc:spChg>
        <pc:spChg chg="add">
          <ac:chgData name="Bakker, Ronald" userId="a20cb0d3-d839-4381-bfaf-2a45b273c42c" providerId="ADAL" clId="{3BBB24B7-2B37-40E3-8561-535C94773D2C}" dt="2020-06-17T18:29:27.739" v="623"/>
          <ac:spMkLst>
            <pc:docMk/>
            <pc:sldMk cId="293262442" sldId="672"/>
            <ac:spMk id="8" creationId="{FFA9C336-739E-4B69-8FB3-AFBEEC7301BE}"/>
          </ac:spMkLst>
        </pc:spChg>
        <pc:spChg chg="add">
          <ac:chgData name="Bakker, Ronald" userId="a20cb0d3-d839-4381-bfaf-2a45b273c42c" providerId="ADAL" clId="{3BBB24B7-2B37-40E3-8561-535C94773D2C}" dt="2020-06-17T18:29:27.739" v="623"/>
          <ac:spMkLst>
            <pc:docMk/>
            <pc:sldMk cId="293262442" sldId="672"/>
            <ac:spMk id="10" creationId="{E0C676C6-86B6-4A49-BC6C-3BA5E5BE5EA2}"/>
          </ac:spMkLst>
        </pc:spChg>
        <pc:spChg chg="add">
          <ac:chgData name="Bakker, Ronald" userId="a20cb0d3-d839-4381-bfaf-2a45b273c42c" providerId="ADAL" clId="{3BBB24B7-2B37-40E3-8561-535C94773D2C}" dt="2020-06-17T18:29:27.739" v="623"/>
          <ac:spMkLst>
            <pc:docMk/>
            <pc:sldMk cId="293262442" sldId="672"/>
            <ac:spMk id="11" creationId="{6972848A-8E0C-4776-8D50-5B55C9EC9C51}"/>
          </ac:spMkLst>
        </pc:spChg>
        <pc:cxnChg chg="add del">
          <ac:chgData name="Bakker, Ronald" userId="a20cb0d3-d839-4381-bfaf-2a45b273c42c" providerId="ADAL" clId="{3BBB24B7-2B37-40E3-8561-535C94773D2C}" dt="2020-06-17T18:28:56.442" v="622"/>
          <ac:cxnSpMkLst>
            <pc:docMk/>
            <pc:sldMk cId="293262442" sldId="672"/>
            <ac:cxnSpMk id="4" creationId="{4F44E383-43AA-400F-906B-46EE8EF4582E}"/>
          </ac:cxnSpMkLst>
        </pc:cxnChg>
        <pc:cxnChg chg="add del">
          <ac:chgData name="Bakker, Ronald" userId="a20cb0d3-d839-4381-bfaf-2a45b273c42c" providerId="ADAL" clId="{3BBB24B7-2B37-40E3-8561-535C94773D2C}" dt="2020-06-17T18:28:56.442" v="622"/>
          <ac:cxnSpMkLst>
            <pc:docMk/>
            <pc:sldMk cId="293262442" sldId="672"/>
            <ac:cxnSpMk id="5" creationId="{60C12B36-3B54-4E56-AC20-A8517D32E891}"/>
          </ac:cxnSpMkLst>
        </pc:cxnChg>
        <pc:cxnChg chg="add">
          <ac:chgData name="Bakker, Ronald" userId="a20cb0d3-d839-4381-bfaf-2a45b273c42c" providerId="ADAL" clId="{3BBB24B7-2B37-40E3-8561-535C94773D2C}" dt="2020-06-17T18:29:27.739" v="623"/>
          <ac:cxnSpMkLst>
            <pc:docMk/>
            <pc:sldMk cId="293262442" sldId="672"/>
            <ac:cxnSpMk id="9" creationId="{2E943C2F-B40B-4D52-B497-99B11D2CD546}"/>
          </ac:cxnSpMkLst>
        </pc:cxnChg>
      </pc:sldChg>
      <pc:sldChg chg="delSp modSp add del">
        <pc:chgData name="Bakker, Ronald" userId="a20cb0d3-d839-4381-bfaf-2a45b273c42c" providerId="ADAL" clId="{3BBB24B7-2B37-40E3-8561-535C94773D2C}" dt="2020-06-17T19:44:07.421" v="2683" actId="2696"/>
        <pc:sldMkLst>
          <pc:docMk/>
          <pc:sldMk cId="616741027" sldId="672"/>
        </pc:sldMkLst>
        <pc:spChg chg="mod">
          <ac:chgData name="Bakker, Ronald" userId="a20cb0d3-d839-4381-bfaf-2a45b273c42c" providerId="ADAL" clId="{3BBB24B7-2B37-40E3-8561-535C94773D2C}" dt="2020-06-17T19:19:17.358" v="2132" actId="207"/>
          <ac:spMkLst>
            <pc:docMk/>
            <pc:sldMk cId="616741027" sldId="672"/>
            <ac:spMk id="40" creationId="{00000000-0000-0000-0000-000000000000}"/>
          </ac:spMkLst>
        </pc:spChg>
        <pc:spChg chg="del mod">
          <ac:chgData name="Bakker, Ronald" userId="a20cb0d3-d839-4381-bfaf-2a45b273c42c" providerId="ADAL" clId="{3BBB24B7-2B37-40E3-8561-535C94773D2C}" dt="2020-06-17T19:16:06.572" v="1489" actId="478"/>
          <ac:spMkLst>
            <pc:docMk/>
            <pc:sldMk cId="616741027" sldId="672"/>
            <ac:spMk id="93" creationId="{00000000-0000-0000-0000-000000000000}"/>
          </ac:spMkLst>
        </pc:spChg>
        <pc:spChg chg="del">
          <ac:chgData name="Bakker, Ronald" userId="a20cb0d3-d839-4381-bfaf-2a45b273c42c" providerId="ADAL" clId="{3BBB24B7-2B37-40E3-8561-535C94773D2C}" dt="2020-06-17T19:16:10.981" v="1490" actId="478"/>
          <ac:spMkLst>
            <pc:docMk/>
            <pc:sldMk cId="616741027" sldId="672"/>
            <ac:spMk id="94" creationId="{00000000-0000-0000-0000-000000000000}"/>
          </ac:spMkLst>
        </pc:spChg>
        <pc:spChg chg="del">
          <ac:chgData name="Bakker, Ronald" userId="a20cb0d3-d839-4381-bfaf-2a45b273c42c" providerId="ADAL" clId="{3BBB24B7-2B37-40E3-8561-535C94773D2C}" dt="2020-06-17T19:16:23.495" v="1494" actId="478"/>
          <ac:spMkLst>
            <pc:docMk/>
            <pc:sldMk cId="616741027" sldId="672"/>
            <ac:spMk id="95" creationId="{00000000-0000-0000-0000-000000000000}"/>
          </ac:spMkLst>
        </pc:spChg>
        <pc:spChg chg="del mod">
          <ac:chgData name="Bakker, Ronald" userId="a20cb0d3-d839-4381-bfaf-2a45b273c42c" providerId="ADAL" clId="{3BBB24B7-2B37-40E3-8561-535C94773D2C}" dt="2020-06-17T19:16:20.096" v="1493" actId="478"/>
          <ac:spMkLst>
            <pc:docMk/>
            <pc:sldMk cId="616741027" sldId="672"/>
            <ac:spMk id="96" creationId="{00000000-0000-0000-0000-000000000000}"/>
          </ac:spMkLst>
        </pc:spChg>
        <pc:spChg chg="del">
          <ac:chgData name="Bakker, Ronald" userId="a20cb0d3-d839-4381-bfaf-2a45b273c42c" providerId="ADAL" clId="{3BBB24B7-2B37-40E3-8561-535C94773D2C}" dt="2020-06-17T19:15:58.276" v="1487" actId="478"/>
          <ac:spMkLst>
            <pc:docMk/>
            <pc:sldMk cId="616741027" sldId="672"/>
            <ac:spMk id="99" creationId="{00000000-0000-0000-0000-000000000000}"/>
          </ac:spMkLst>
        </pc:spChg>
        <pc:spChg chg="del">
          <ac:chgData name="Bakker, Ronald" userId="a20cb0d3-d839-4381-bfaf-2a45b273c42c" providerId="ADAL" clId="{3BBB24B7-2B37-40E3-8561-535C94773D2C}" dt="2020-06-17T19:16:26.772" v="1495" actId="478"/>
          <ac:spMkLst>
            <pc:docMk/>
            <pc:sldMk cId="616741027" sldId="672"/>
            <ac:spMk id="100" creationId="{00000000-0000-0000-0000-000000000000}"/>
          </ac:spMkLst>
        </pc:spChg>
        <pc:spChg chg="mod">
          <ac:chgData name="Bakker, Ronald" userId="a20cb0d3-d839-4381-bfaf-2a45b273c42c" providerId="ADAL" clId="{3BBB24B7-2B37-40E3-8561-535C94773D2C}" dt="2020-06-17T19:31:15.329" v="2360" actId="692"/>
          <ac:spMkLst>
            <pc:docMk/>
            <pc:sldMk cId="616741027" sldId="672"/>
            <ac:spMk id="105" creationId="{00000000-0000-0000-0000-000000000000}"/>
          </ac:spMkLst>
        </pc:spChg>
        <pc:grpChg chg="mod">
          <ac:chgData name="Bakker, Ronald" userId="a20cb0d3-d839-4381-bfaf-2a45b273c42c" providerId="ADAL" clId="{3BBB24B7-2B37-40E3-8561-535C94773D2C}" dt="2020-06-17T19:21:08.990" v="2149" actId="1076"/>
          <ac:grpSpMkLst>
            <pc:docMk/>
            <pc:sldMk cId="616741027" sldId="672"/>
            <ac:grpSpMk id="5" creationId="{00000000-0000-0000-0000-000000000000}"/>
          </ac:grpSpMkLst>
        </pc:grpChg>
      </pc:sldChg>
      <pc:sldMasterChg chg="delSldLayout">
        <pc:chgData name="Bakker, Ronald" userId="a20cb0d3-d839-4381-bfaf-2a45b273c42c" providerId="ADAL" clId="{3BBB24B7-2B37-40E3-8561-535C94773D2C}" dt="2020-06-17T19:04:05.448" v="1269" actId="2696"/>
        <pc:sldMasterMkLst>
          <pc:docMk/>
          <pc:sldMasterMk cId="1762778664" sldId="2147483671"/>
        </pc:sldMasterMkLst>
        <pc:sldLayoutChg chg="del">
          <pc:chgData name="Bakker, Ronald" userId="a20cb0d3-d839-4381-bfaf-2a45b273c42c" providerId="ADAL" clId="{3BBB24B7-2B37-40E3-8561-535C94773D2C}" dt="2020-06-17T19:04:05.448" v="1269" actId="2696"/>
          <pc:sldLayoutMkLst>
            <pc:docMk/>
            <pc:sldMasterMk cId="1762778664" sldId="2147483671"/>
            <pc:sldLayoutMk cId="1441593491" sldId="2147483853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100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8/11/2021</a:t>
            </a:fld>
            <a:endParaRPr lang="pt-PT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</a:t>
            </a:r>
            <a:r>
              <a:rPr lang="pt-PT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ogeti 2018. All rights reserv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100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pt-PT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5B8F7-DAC4-4931-8AED-4356A8B2FD64}" type="datetimeFigureOut">
              <a:rPr lang="pt-BR" smtClean="0"/>
              <a:t>28/11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696B5C-12A0-4042-B4D0-BD3B9A4F58C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1.png"/><Relationship Id="rId3" Type="http://schemas.openxmlformats.org/officeDocument/2006/relationships/hyperlink" Target="http://www.capgemini.com/about/how-we-work/rightshorer" TargetMode="External"/><Relationship Id="rId7" Type="http://schemas.openxmlformats.org/officeDocument/2006/relationships/image" Target="../media/image9.png"/><Relationship Id="rId12" Type="http://schemas.openxmlformats.org/officeDocument/2006/relationships/hyperlink" Target="http://www.youtube.com/capgeminimedia" TargetMode="External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6" Type="http://schemas.openxmlformats.org/officeDocument/2006/relationships/hyperlink" Target="http://www.linkedin.com/company/capgemini" TargetMode="External"/><Relationship Id="rId11" Type="http://schemas.microsoft.com/office/2007/relationships/hdphoto" Target="../media/hdphoto2.wdp"/><Relationship Id="rId5" Type="http://schemas.openxmlformats.org/officeDocument/2006/relationships/hyperlink" Target="https://www.sogeti.com/" TargetMode="External"/><Relationship Id="rId10" Type="http://schemas.openxmlformats.org/officeDocument/2006/relationships/image" Target="../media/image10.png"/><Relationship Id="rId4" Type="http://schemas.openxmlformats.org/officeDocument/2006/relationships/hyperlink" Target="http://www.capgemini.com/" TargetMode="External"/><Relationship Id="rId9" Type="http://schemas.openxmlformats.org/officeDocument/2006/relationships/hyperlink" Target="http://www.twitter.com/capgemini" TargetMode="External"/><Relationship Id="rId14" Type="http://schemas.microsoft.com/office/2007/relationships/hdphoto" Target="../media/hdphoto3.wdp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channel/UC9vbc9OpkYZ9hru94oFzTQQ?" TargetMode="External"/><Relationship Id="rId3" Type="http://schemas.openxmlformats.org/officeDocument/2006/relationships/image" Target="../media/image2.emf"/><Relationship Id="rId7" Type="http://schemas.openxmlformats.org/officeDocument/2006/relationships/image" Target="../media/image13.png"/><Relationship Id="rId2" Type="http://schemas.openxmlformats.org/officeDocument/2006/relationships/hyperlink" Target="https://www.sogeti.com/" TargetMode="External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twitter.com/sogeti" TargetMode="External"/><Relationship Id="rId5" Type="http://schemas.openxmlformats.org/officeDocument/2006/relationships/image" Target="../media/image12.png"/><Relationship Id="rId4" Type="http://schemas.openxmlformats.org/officeDocument/2006/relationships/hyperlink" Target="https://www.linkedin.com/company/sogeti/" TargetMode="External"/><Relationship Id="rId9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channel/UC9vbc9OpkYZ9hru94oFzTQQ?" TargetMode="External"/><Relationship Id="rId3" Type="http://schemas.openxmlformats.org/officeDocument/2006/relationships/image" Target="../media/image2.emf"/><Relationship Id="rId7" Type="http://schemas.openxmlformats.org/officeDocument/2006/relationships/image" Target="../media/image13.png"/><Relationship Id="rId2" Type="http://schemas.openxmlformats.org/officeDocument/2006/relationships/hyperlink" Target="https://www.sogeti.com/" TargetMode="External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twitter.com/sogeti" TargetMode="External"/><Relationship Id="rId5" Type="http://schemas.openxmlformats.org/officeDocument/2006/relationships/image" Target="../media/image12.png"/><Relationship Id="rId4" Type="http://schemas.openxmlformats.org/officeDocument/2006/relationships/hyperlink" Target="https://www.linkedin.com/company/sogeti/" TargetMode="External"/><Relationship Id="rId9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869612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53B0AF9-F410-4C47-9D9C-CAC9890E42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1413990"/>
            <a:ext cx="11376025" cy="50391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00"/>
              </a:lnSpc>
              <a:buNone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225425" indent="-225425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Click to insert text</a:t>
            </a:r>
          </a:p>
          <a:p>
            <a:pPr marL="461963" lvl="1" indent="-236538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Click to insert text</a:t>
            </a:r>
            <a:endParaRPr lang="pt-PT" sz="1600" dirty="0"/>
          </a:p>
          <a:p>
            <a:pPr marL="688975" lvl="2" indent="-241300">
              <a:buClr>
                <a:schemeClr val="accent2"/>
              </a:buClr>
              <a:buFont typeface="Verdana" panose="020B0604030504040204" pitchFamily="34" charset="0"/>
              <a:buChar char="–"/>
            </a:pPr>
            <a:r>
              <a:rPr lang="en-US" dirty="0"/>
              <a:t>Click to insert text</a:t>
            </a:r>
            <a:endParaRPr lang="pt-PT" dirty="0"/>
          </a:p>
          <a:p>
            <a:pPr marL="914400" lvl="3" indent="-225425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dirty="0"/>
              <a:t>Click to insert text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2180858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>
          <a:xfrm>
            <a:off x="1295400" y="1"/>
            <a:ext cx="10896600" cy="5568105"/>
          </a:xfrm>
          <a:custGeom>
            <a:avLst/>
            <a:gdLst>
              <a:gd name="connsiteX0" fmla="*/ 0 w 10896600"/>
              <a:gd name="connsiteY0" fmla="*/ 0 h 5568105"/>
              <a:gd name="connsiteX1" fmla="*/ 10896600 w 10896600"/>
              <a:gd name="connsiteY1" fmla="*/ 0 h 5568105"/>
              <a:gd name="connsiteX2" fmla="*/ 10896600 w 10896600"/>
              <a:gd name="connsiteY2" fmla="*/ 80960 h 5568105"/>
              <a:gd name="connsiteX3" fmla="*/ 10896600 w 10896600"/>
              <a:gd name="connsiteY3" fmla="*/ 5568105 h 5568105"/>
              <a:gd name="connsiteX4" fmla="*/ 10451841 w 10896600"/>
              <a:gd name="connsiteY4" fmla="*/ 5493803 h 5568105"/>
              <a:gd name="connsiteX5" fmla="*/ 0 w 10896600"/>
              <a:gd name="connsiteY5" fmla="*/ 3246176 h 5568105"/>
              <a:gd name="connsiteX6" fmla="*/ 0 w 10896600"/>
              <a:gd name="connsiteY6" fmla="*/ 191975 h 5568105"/>
              <a:gd name="connsiteX7" fmla="*/ 0 w 10896600"/>
              <a:gd name="connsiteY7" fmla="*/ 0 h 5568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96600" h="5568105">
                <a:moveTo>
                  <a:pt x="0" y="0"/>
                </a:moveTo>
                <a:lnTo>
                  <a:pt x="10896600" y="0"/>
                </a:lnTo>
                <a:lnTo>
                  <a:pt x="10896600" y="80960"/>
                </a:lnTo>
                <a:cubicBezTo>
                  <a:pt x="10896600" y="1513754"/>
                  <a:pt x="10896600" y="3311770"/>
                  <a:pt x="10896600" y="5568105"/>
                </a:cubicBezTo>
                <a:cubicBezTo>
                  <a:pt x="10748347" y="5549530"/>
                  <a:pt x="10600094" y="5530954"/>
                  <a:pt x="10451841" y="5493803"/>
                </a:cubicBezTo>
                <a:cubicBezTo>
                  <a:pt x="6356350" y="4787937"/>
                  <a:pt x="2872403" y="4026344"/>
                  <a:pt x="0" y="3246176"/>
                </a:cubicBezTo>
                <a:cubicBezTo>
                  <a:pt x="0" y="3246176"/>
                  <a:pt x="0" y="3246176"/>
                  <a:pt x="0" y="19197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6816081" y="1442183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16081" y="2356582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2413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 userDrawn="1"/>
        </p:nvSpPr>
        <p:spPr>
          <a:xfrm>
            <a:off x="0" y="0"/>
            <a:ext cx="12192000" cy="5873580"/>
          </a:xfrm>
          <a:custGeom>
            <a:avLst/>
            <a:gdLst>
              <a:gd name="connsiteX0" fmla="*/ 0 w 12192000"/>
              <a:gd name="connsiteY0" fmla="*/ 0 h 5873580"/>
              <a:gd name="connsiteX1" fmla="*/ 12192000 w 12192000"/>
              <a:gd name="connsiteY1" fmla="*/ 0 h 5873580"/>
              <a:gd name="connsiteX2" fmla="*/ 12192000 w 12192000"/>
              <a:gd name="connsiteY2" fmla="*/ 448624 h 5873580"/>
              <a:gd name="connsiteX3" fmla="*/ 12192000 w 12192000"/>
              <a:gd name="connsiteY3" fmla="*/ 2347836 h 5873580"/>
              <a:gd name="connsiteX4" fmla="*/ 0 w 12192000"/>
              <a:gd name="connsiteY4" fmla="*/ 4899184 h 5873580"/>
              <a:gd name="connsiteX5" fmla="*/ 0 w 12192000"/>
              <a:gd name="connsiteY5" fmla="*/ 176498 h 5873580"/>
              <a:gd name="connsiteX6" fmla="*/ 0 w 12192000"/>
              <a:gd name="connsiteY6" fmla="*/ 0 h 5873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73580">
                <a:moveTo>
                  <a:pt x="0" y="0"/>
                </a:moveTo>
                <a:lnTo>
                  <a:pt x="12192000" y="0"/>
                </a:lnTo>
                <a:lnTo>
                  <a:pt x="12192000" y="448624"/>
                </a:lnTo>
                <a:cubicBezTo>
                  <a:pt x="12192000" y="1051556"/>
                  <a:pt x="12192000" y="1684140"/>
                  <a:pt x="12192000" y="2347836"/>
                </a:cubicBezTo>
                <a:cubicBezTo>
                  <a:pt x="12192000" y="7979192"/>
                  <a:pt x="1443790" y="5266946"/>
                  <a:pt x="0" y="4899184"/>
                </a:cubicBezTo>
                <a:cubicBezTo>
                  <a:pt x="0" y="4899184"/>
                  <a:pt x="0" y="4899184"/>
                  <a:pt x="0" y="17649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902619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817018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1106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/>
          <p:cNvSpPr/>
          <p:nvPr userDrawn="1"/>
        </p:nvSpPr>
        <p:spPr>
          <a:xfrm>
            <a:off x="0" y="0"/>
            <a:ext cx="6309360" cy="4765196"/>
          </a:xfrm>
          <a:custGeom>
            <a:avLst/>
            <a:gdLst>
              <a:gd name="connsiteX0" fmla="*/ 0 w 6309360"/>
              <a:gd name="connsiteY0" fmla="*/ 0 h 4765196"/>
              <a:gd name="connsiteX1" fmla="*/ 6309360 w 6309360"/>
              <a:gd name="connsiteY1" fmla="*/ 0 h 4765196"/>
              <a:gd name="connsiteX2" fmla="*/ 6309360 w 6309360"/>
              <a:gd name="connsiteY2" fmla="*/ 56339 h 4765196"/>
              <a:gd name="connsiteX3" fmla="*/ 6309360 w 6309360"/>
              <a:gd name="connsiteY3" fmla="*/ 4765196 h 4765196"/>
              <a:gd name="connsiteX4" fmla="*/ 6030064 w 6309360"/>
              <a:gd name="connsiteY4" fmla="*/ 4718537 h 4765196"/>
              <a:gd name="connsiteX5" fmla="*/ 161022 w 6309360"/>
              <a:gd name="connsiteY5" fmla="*/ 3490219 h 4765196"/>
              <a:gd name="connsiteX6" fmla="*/ 0 w 6309360"/>
              <a:gd name="connsiteY6" fmla="*/ 3448369 h 4765196"/>
              <a:gd name="connsiteX7" fmla="*/ 0 w 6309360"/>
              <a:gd name="connsiteY7" fmla="*/ 0 h 4765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09360" h="4765196">
                <a:moveTo>
                  <a:pt x="0" y="0"/>
                </a:moveTo>
                <a:lnTo>
                  <a:pt x="6309360" y="0"/>
                </a:lnTo>
                <a:lnTo>
                  <a:pt x="6309360" y="56339"/>
                </a:lnTo>
                <a:cubicBezTo>
                  <a:pt x="6309360" y="1086668"/>
                  <a:pt x="6309360" y="2585327"/>
                  <a:pt x="6309360" y="4765196"/>
                </a:cubicBezTo>
                <a:cubicBezTo>
                  <a:pt x="6216261" y="4753531"/>
                  <a:pt x="6123163" y="4741867"/>
                  <a:pt x="6030064" y="4718537"/>
                </a:cubicBezTo>
                <a:cubicBezTo>
                  <a:pt x="3779692" y="4330681"/>
                  <a:pt x="1823345" y="3916032"/>
                  <a:pt x="161022" y="3490219"/>
                </a:cubicBezTo>
                <a:lnTo>
                  <a:pt x="0" y="344836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" y="228600"/>
            <a:ext cx="4176384" cy="697992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2826" y="3570847"/>
            <a:ext cx="5261187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1965234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5837769" y="2731746"/>
            <a:ext cx="6354232" cy="4126254"/>
          </a:xfrm>
          <a:custGeom>
            <a:avLst/>
            <a:gdLst>
              <a:gd name="connsiteX0" fmla="*/ 3218905 w 6354232"/>
              <a:gd name="connsiteY0" fmla="*/ 0 h 4126254"/>
              <a:gd name="connsiteX1" fmla="*/ 6338060 w 6354232"/>
              <a:gd name="connsiteY1" fmla="*/ 0 h 4126254"/>
              <a:gd name="connsiteX2" fmla="*/ 6354232 w 6354232"/>
              <a:gd name="connsiteY2" fmla="*/ 0 h 4126254"/>
              <a:gd name="connsiteX3" fmla="*/ 6354232 w 6354232"/>
              <a:gd name="connsiteY3" fmla="*/ 4126254 h 4126254"/>
              <a:gd name="connsiteX4" fmla="*/ 0 w 6354232"/>
              <a:gd name="connsiteY4" fmla="*/ 4126254 h 4126254"/>
              <a:gd name="connsiteX5" fmla="*/ 18928 w 6354232"/>
              <a:gd name="connsiteY5" fmla="*/ 4013385 h 4126254"/>
              <a:gd name="connsiteX6" fmla="*/ 273133 w 6354232"/>
              <a:gd name="connsiteY6" fmla="*/ 2497612 h 4126254"/>
              <a:gd name="connsiteX7" fmla="*/ 3218905 w 6354232"/>
              <a:gd name="connsiteY7" fmla="*/ 0 h 4126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54232" h="4126254">
                <a:moveTo>
                  <a:pt x="3218905" y="0"/>
                </a:moveTo>
                <a:cubicBezTo>
                  <a:pt x="3218905" y="0"/>
                  <a:pt x="3218905" y="0"/>
                  <a:pt x="6338060" y="0"/>
                </a:cubicBezTo>
                <a:lnTo>
                  <a:pt x="6354232" y="0"/>
                </a:lnTo>
                <a:lnTo>
                  <a:pt x="6354232" y="4126254"/>
                </a:lnTo>
                <a:lnTo>
                  <a:pt x="0" y="4126254"/>
                </a:lnTo>
                <a:lnTo>
                  <a:pt x="18928" y="4013385"/>
                </a:lnTo>
                <a:cubicBezTo>
                  <a:pt x="86797" y="3608700"/>
                  <a:pt x="170327" y="3110626"/>
                  <a:pt x="273133" y="2497612"/>
                </a:cubicBezTo>
                <a:cubicBezTo>
                  <a:pt x="509655" y="1050498"/>
                  <a:pt x="1756770" y="0"/>
                  <a:pt x="321890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1443355"/>
            <a:ext cx="4751909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8400" y="838200"/>
            <a:ext cx="4147523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9564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Koningro\AppData\Local\Microsoft\Windows\Temporary Internet Files\Content.Outlook\94A2Q1ON\Logo_Sogeti_PMS485 juiste JPG kleur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35" y="6200775"/>
            <a:ext cx="2027767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335" y="146149"/>
            <a:ext cx="10790964" cy="914400"/>
          </a:xfrm>
        </p:spPr>
        <p:txBody>
          <a:bodyPr/>
          <a:lstStyle>
            <a:lvl1pPr>
              <a:defRPr sz="3200" b="1" baseline="0">
                <a:solidFill>
                  <a:srgbClr val="DE381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nl-NL" dirty="0"/>
              <a:t>Klik om de stijl te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243305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/>
          <p:cNvSpPr/>
          <p:nvPr userDrawn="1"/>
        </p:nvSpPr>
        <p:spPr>
          <a:xfrm>
            <a:off x="1" y="0"/>
            <a:ext cx="7037465" cy="6858000"/>
          </a:xfrm>
          <a:custGeom>
            <a:avLst/>
            <a:gdLst>
              <a:gd name="connsiteX0" fmla="*/ 0 w 7037465"/>
              <a:gd name="connsiteY0" fmla="*/ 0 h 6858000"/>
              <a:gd name="connsiteX1" fmla="*/ 7037465 w 7037465"/>
              <a:gd name="connsiteY1" fmla="*/ 0 h 6858000"/>
              <a:gd name="connsiteX2" fmla="*/ 7037465 w 7037465"/>
              <a:gd name="connsiteY2" fmla="*/ 114293 h 6858000"/>
              <a:gd name="connsiteX3" fmla="*/ 7037465 w 7037465"/>
              <a:gd name="connsiteY3" fmla="*/ 2657010 h 6858000"/>
              <a:gd name="connsiteX4" fmla="*/ 3733176 w 7037465"/>
              <a:gd name="connsiteY4" fmla="*/ 6564069 h 6858000"/>
              <a:gd name="connsiteX5" fmla="*/ 2097225 w 7037465"/>
              <a:gd name="connsiteY5" fmla="*/ 6832749 h 6858000"/>
              <a:gd name="connsiteX6" fmla="*/ 1943476 w 7037465"/>
              <a:gd name="connsiteY6" fmla="*/ 6858000 h 6858000"/>
              <a:gd name="connsiteX7" fmla="*/ 0 w 7037465"/>
              <a:gd name="connsiteY7" fmla="*/ 6858000 h 6858000"/>
              <a:gd name="connsiteX8" fmla="*/ 0 w 7037465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037465" h="6858000">
                <a:moveTo>
                  <a:pt x="0" y="0"/>
                </a:moveTo>
                <a:lnTo>
                  <a:pt x="7037465" y="0"/>
                </a:lnTo>
                <a:lnTo>
                  <a:pt x="7037465" y="114293"/>
                </a:lnTo>
                <a:cubicBezTo>
                  <a:pt x="7037465" y="2657010"/>
                  <a:pt x="7037465" y="2657010"/>
                  <a:pt x="7037465" y="2657010"/>
                </a:cubicBezTo>
                <a:cubicBezTo>
                  <a:pt x="7037465" y="4603435"/>
                  <a:pt x="5647678" y="6251504"/>
                  <a:pt x="3733176" y="6564069"/>
                </a:cubicBezTo>
                <a:cubicBezTo>
                  <a:pt x="3099579" y="6668128"/>
                  <a:pt x="2558794" y="6756943"/>
                  <a:pt x="2097225" y="6832749"/>
                </a:cubicBezTo>
                <a:lnTo>
                  <a:pt x="194347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407988" y="2317233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chemeClr val="bg1"/>
                </a:solidFill>
              </a:rPr>
              <a:t>About </a:t>
            </a:r>
            <a:r>
              <a:rPr lang="en-US" sz="1600" dirty="0" err="1">
                <a:solidFill>
                  <a:schemeClr val="bg1"/>
                </a:solidFill>
              </a:rPr>
              <a:t>Sogeti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07988" y="4048433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 dirty="0">
                <a:solidFill>
                  <a:schemeClr val="bg1"/>
                </a:solidFill>
              </a:rPr>
              <a:t>Learn more about us at</a:t>
            </a: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 dirty="0">
                <a:solidFill>
                  <a:schemeClr val="bg1"/>
                </a:solidFill>
              </a:rPr>
              <a:t>www.sogeti.com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8305799" y="5764024"/>
            <a:ext cx="3512821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800" noProof="0" dirty="0">
                <a:solidFill>
                  <a:schemeClr val="tx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dirty="0" err="1">
                <a:solidFill>
                  <a:schemeClr val="tx1"/>
                </a:solidFill>
                <a:latin typeface="+mn-lt"/>
                <a:cs typeface="Arial"/>
              </a:rPr>
              <a:t>Capgemini</a:t>
            </a:r>
            <a:r>
              <a:rPr lang="en-US" sz="800" noProof="0" dirty="0">
                <a:solidFill>
                  <a:schemeClr val="tx1"/>
                </a:solidFill>
                <a:latin typeface="+mn-lt"/>
                <a:cs typeface="Arial"/>
              </a:rPr>
              <a:t> Group.</a:t>
            </a:r>
          </a:p>
          <a:p>
            <a:pPr algn="r">
              <a:spcAft>
                <a:spcPts val="600"/>
              </a:spcAft>
            </a:pPr>
            <a:r>
              <a:rPr lang="en-US" sz="800" noProof="0" dirty="0">
                <a:solidFill>
                  <a:schemeClr val="tx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 dirty="0">
                <a:solidFill>
                  <a:schemeClr val="tx1"/>
                </a:solidFill>
                <a:latin typeface="+mn-lt"/>
                <a:cs typeface="Arial"/>
              </a:rPr>
              <a:t>©</a:t>
            </a:r>
            <a:r>
              <a:rPr lang="en-US" sz="800" noProof="0" dirty="0">
                <a:solidFill>
                  <a:schemeClr val="tx1"/>
                </a:solidFill>
                <a:latin typeface="+mn-lt"/>
                <a:cs typeface="Arial"/>
              </a:rPr>
              <a:t> 2021 Sogeti. All rights reserved.</a:t>
            </a:r>
          </a:p>
        </p:txBody>
      </p:sp>
      <p:sp>
        <p:nvSpPr>
          <p:cNvPr id="26" name="Rectangle 25">
            <a:hlinkClick r:id="rId3"/>
          </p:cNvPr>
          <p:cNvSpPr/>
          <p:nvPr userDrawn="1"/>
        </p:nvSpPr>
        <p:spPr>
          <a:xfrm>
            <a:off x="10730865" y="3812094"/>
            <a:ext cx="704850" cy="124676"/>
          </a:xfrm>
          <a:prstGeom prst="rect">
            <a:avLst/>
          </a:prstGeom>
          <a:solidFill>
            <a:schemeClr val="accent2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7" name="Rectangle 26">
            <a:hlinkClick r:id="rId4"/>
          </p:cNvPr>
          <p:cNvSpPr/>
          <p:nvPr userDrawn="1"/>
        </p:nvSpPr>
        <p:spPr>
          <a:xfrm>
            <a:off x="6532245" y="4445639"/>
            <a:ext cx="1851660" cy="183449"/>
          </a:xfrm>
          <a:prstGeom prst="rect">
            <a:avLst/>
          </a:prstGeom>
          <a:solidFill>
            <a:schemeClr val="accent2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Rectangle 29">
            <a:hlinkClick r:id="rId5"/>
          </p:cNvPr>
          <p:cNvSpPr/>
          <p:nvPr userDrawn="1"/>
        </p:nvSpPr>
        <p:spPr>
          <a:xfrm>
            <a:off x="407989" y="4235890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pic>
        <p:nvPicPr>
          <p:cNvPr id="21" name="Picture 2" descr="D:\My Work\Template\Icons\Social Media\LinkedIN.png">
            <a:hlinkClick r:id="rId6"/>
            <a:extLst>
              <a:ext uri="{FF2B5EF4-FFF2-40B4-BE49-F238E27FC236}">
                <a16:creationId xmlns:a16="http://schemas.microsoft.com/office/drawing/2014/main" id="{08F614DE-51DA-4BFF-8E53-D2741450B8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0684065" y="5181600"/>
            <a:ext cx="333195" cy="333195"/>
          </a:xfrm>
          <a:prstGeom prst="rect">
            <a:avLst/>
          </a:prstGeom>
          <a:noFill/>
        </p:spPr>
      </p:pic>
      <p:pic>
        <p:nvPicPr>
          <p:cNvPr id="22" name="Picture 5" descr="D:\My Work\Template\Icons\Social Media\Twitter.png">
            <a:hlinkClick r:id="rId9"/>
            <a:extLst>
              <a:ext uri="{FF2B5EF4-FFF2-40B4-BE49-F238E27FC236}">
                <a16:creationId xmlns:a16="http://schemas.microsoft.com/office/drawing/2014/main" id="{407A4AAB-4D4A-41A6-8AB1-41DD0D45E3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1067442" y="5181600"/>
            <a:ext cx="333195" cy="333195"/>
          </a:xfrm>
          <a:prstGeom prst="rect">
            <a:avLst/>
          </a:prstGeom>
          <a:noFill/>
        </p:spPr>
      </p:pic>
      <p:pic>
        <p:nvPicPr>
          <p:cNvPr id="25" name="Picture 6" descr="D:\My Work\Template\Icons\Social Media\YouTube.png">
            <a:hlinkClick r:id="rId12"/>
            <a:extLst>
              <a:ext uri="{FF2B5EF4-FFF2-40B4-BE49-F238E27FC236}">
                <a16:creationId xmlns:a16="http://schemas.microsoft.com/office/drawing/2014/main" id="{B8D13D2F-BC30-4A06-B353-FAA883C674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50000"/>
                    </a14:imgEffect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1450818" y="51816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51D6730-9622-4316-9ACE-C0BFBC830794}"/>
              </a:ext>
            </a:extLst>
          </p:cNvPr>
          <p:cNvSpPr/>
          <p:nvPr userDrawn="1"/>
        </p:nvSpPr>
        <p:spPr>
          <a:xfrm>
            <a:off x="401188" y="2708920"/>
            <a:ext cx="52308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dirty="0" err="1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31237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7162801" y="2667000"/>
            <a:ext cx="5029201" cy="4191000"/>
          </a:xfrm>
          <a:custGeom>
            <a:avLst/>
            <a:gdLst>
              <a:gd name="connsiteX0" fmla="*/ 5029201 w 5029201"/>
              <a:gd name="connsiteY0" fmla="*/ 0 h 4191000"/>
              <a:gd name="connsiteX1" fmla="*/ 5029201 w 5029201"/>
              <a:gd name="connsiteY1" fmla="*/ 4050815 h 4191000"/>
              <a:gd name="connsiteX2" fmla="*/ 5029201 w 5029201"/>
              <a:gd name="connsiteY2" fmla="*/ 4191000 h 4191000"/>
              <a:gd name="connsiteX3" fmla="*/ 0 w 5029201"/>
              <a:gd name="connsiteY3" fmla="*/ 4191000 h 4191000"/>
              <a:gd name="connsiteX4" fmla="*/ 0 w 5029201"/>
              <a:gd name="connsiteY4" fmla="*/ 4087004 h 4191000"/>
              <a:gd name="connsiteX5" fmla="*/ 0 w 5029201"/>
              <a:gd name="connsiteY5" fmla="*/ 1070904 h 4191000"/>
              <a:gd name="connsiteX6" fmla="*/ 2360645 w 5029201"/>
              <a:gd name="connsiteY6" fmla="*/ 505467 h 4191000"/>
              <a:gd name="connsiteX7" fmla="*/ 5029201 w 5029201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9201" h="4191000">
                <a:moveTo>
                  <a:pt x="5029201" y="0"/>
                </a:moveTo>
                <a:cubicBezTo>
                  <a:pt x="5029201" y="2081302"/>
                  <a:pt x="5029201" y="3317075"/>
                  <a:pt x="5029201" y="4050815"/>
                </a:cubicBezTo>
                <a:lnTo>
                  <a:pt x="5029201" y="4191000"/>
                </a:lnTo>
                <a:lnTo>
                  <a:pt x="0" y="4191000"/>
                </a:lnTo>
                <a:lnTo>
                  <a:pt x="0" y="4087004"/>
                </a:lnTo>
                <a:cubicBezTo>
                  <a:pt x="0" y="1070904"/>
                  <a:pt x="0" y="1070904"/>
                  <a:pt x="0" y="1070904"/>
                </a:cubicBezTo>
                <a:cubicBezTo>
                  <a:pt x="709904" y="873858"/>
                  <a:pt x="1496786" y="685379"/>
                  <a:pt x="2360645" y="505467"/>
                </a:cubicBezTo>
                <a:cubicBezTo>
                  <a:pt x="3121868" y="342690"/>
                  <a:pt x="4960776" y="8567"/>
                  <a:pt x="502920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426722" y="3491378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chemeClr val="accent5"/>
                </a:solidFill>
              </a:rPr>
              <a:t>About </a:t>
            </a:r>
            <a:r>
              <a:rPr lang="en-US" sz="1600" dirty="0" err="1">
                <a:solidFill>
                  <a:schemeClr val="accent5"/>
                </a:solidFill>
              </a:rPr>
              <a:t>Sogeti</a:t>
            </a:r>
            <a:endParaRPr lang="en-US" sz="1600" dirty="0">
              <a:solidFill>
                <a:schemeClr val="accent5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26722" y="5407369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 dirty="0">
                <a:solidFill>
                  <a:schemeClr val="tx1"/>
                </a:solidFill>
              </a:rPr>
              <a:t>Learn more about us at</a:t>
            </a:r>
            <a:endParaRPr lang="en-US" sz="900" dirty="0">
              <a:solidFill>
                <a:schemeClr val="accent5"/>
              </a:solidFill>
            </a:endParaRP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 dirty="0">
                <a:solidFill>
                  <a:schemeClr val="accent5"/>
                </a:solidFill>
              </a:rPr>
              <a:t>www.sogeti.com</a:t>
            </a:r>
          </a:p>
        </p:txBody>
      </p:sp>
      <p:sp>
        <p:nvSpPr>
          <p:cNvPr id="30" name="Rectangle 29">
            <a:hlinkClick r:id="rId2"/>
          </p:cNvPr>
          <p:cNvSpPr/>
          <p:nvPr userDrawn="1"/>
        </p:nvSpPr>
        <p:spPr>
          <a:xfrm>
            <a:off x="426723" y="5594826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7696201" y="5841671"/>
            <a:ext cx="4087812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dirty="0" err="1">
                <a:solidFill>
                  <a:schemeClr val="bg1"/>
                </a:solidFill>
                <a:latin typeface="+mn-lt"/>
                <a:cs typeface="Arial"/>
              </a:rPr>
              <a:t>Capgemini</a:t>
            </a: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 Group.</a:t>
            </a:r>
          </a:p>
          <a:p>
            <a:pPr algn="r">
              <a:spcAft>
                <a:spcPts val="600"/>
              </a:spcAft>
            </a:pP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 dirty="0">
                <a:solidFill>
                  <a:schemeClr val="bg1"/>
                </a:solidFill>
                <a:latin typeface="+mn-lt"/>
                <a:cs typeface="Arial"/>
              </a:rPr>
              <a:t>©</a:t>
            </a: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 2021 Sogeti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  <p:pic>
        <p:nvPicPr>
          <p:cNvPr id="10" name="Picture 2" descr="D:\My Work\Template\Icons\Social Media\LinkedIN.png">
            <a:hlinkClick r:id="rId4"/>
            <a:extLst>
              <a:ext uri="{FF2B5EF4-FFF2-40B4-BE49-F238E27FC236}">
                <a16:creationId xmlns:a16="http://schemas.microsoft.com/office/drawing/2014/main" id="{69B0AD73-FA6F-418A-94C3-EED4E25A53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684066" y="5181600"/>
            <a:ext cx="333195" cy="333195"/>
          </a:xfrm>
          <a:prstGeom prst="rect">
            <a:avLst/>
          </a:prstGeom>
          <a:noFill/>
        </p:spPr>
      </p:pic>
      <p:pic>
        <p:nvPicPr>
          <p:cNvPr id="11" name="Picture 5" descr="D:\My Work\Template\Icons\Social Media\Twitter.png">
            <a:hlinkClick r:id="rId6"/>
            <a:extLst>
              <a:ext uri="{FF2B5EF4-FFF2-40B4-BE49-F238E27FC236}">
                <a16:creationId xmlns:a16="http://schemas.microsoft.com/office/drawing/2014/main" id="{CD01C794-85B7-4ED7-A647-3BFD39BDA8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067442" y="5181600"/>
            <a:ext cx="333195" cy="333195"/>
          </a:xfrm>
          <a:prstGeom prst="rect">
            <a:avLst/>
          </a:prstGeom>
          <a:noFill/>
        </p:spPr>
      </p:pic>
      <p:pic>
        <p:nvPicPr>
          <p:cNvPr id="13" name="Picture 6" descr="D:\My Work\Template\Icons\Social Media\YouTube.png">
            <a:hlinkClick r:id="rId8"/>
            <a:extLst>
              <a:ext uri="{FF2B5EF4-FFF2-40B4-BE49-F238E27FC236}">
                <a16:creationId xmlns:a16="http://schemas.microsoft.com/office/drawing/2014/main" id="{721FA104-A027-4E51-8E5C-6108C26E22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450818" y="51816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B1D44DE-9375-4835-B18F-A334E66D7F1C}"/>
              </a:ext>
            </a:extLst>
          </p:cNvPr>
          <p:cNvSpPr/>
          <p:nvPr userDrawn="1"/>
        </p:nvSpPr>
        <p:spPr>
          <a:xfrm>
            <a:off x="401188" y="3861048"/>
            <a:ext cx="46280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10702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>
          <a:xfrm>
            <a:off x="0" y="0"/>
            <a:ext cx="6096000" cy="5796064"/>
          </a:xfrm>
          <a:custGeom>
            <a:avLst/>
            <a:gdLst>
              <a:gd name="connsiteX0" fmla="*/ 0 w 6096000"/>
              <a:gd name="connsiteY0" fmla="*/ 0 h 5796064"/>
              <a:gd name="connsiteX1" fmla="*/ 6096000 w 6096000"/>
              <a:gd name="connsiteY1" fmla="*/ 0 h 5796064"/>
              <a:gd name="connsiteX2" fmla="*/ 6096000 w 6096000"/>
              <a:gd name="connsiteY2" fmla="*/ 133757 h 5796064"/>
              <a:gd name="connsiteX3" fmla="*/ 6096000 w 6096000"/>
              <a:gd name="connsiteY3" fmla="*/ 4034055 h 5796064"/>
              <a:gd name="connsiteX4" fmla="*/ 0 w 6096000"/>
              <a:gd name="connsiteY4" fmla="*/ 5309105 h 5796064"/>
              <a:gd name="connsiteX5" fmla="*/ 0 w 6096000"/>
              <a:gd name="connsiteY5" fmla="*/ 8972 h 5796064"/>
              <a:gd name="connsiteX6" fmla="*/ 0 w 6096000"/>
              <a:gd name="connsiteY6" fmla="*/ 0 h 579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5796064">
                <a:moveTo>
                  <a:pt x="0" y="0"/>
                </a:moveTo>
                <a:lnTo>
                  <a:pt x="6096000" y="0"/>
                </a:lnTo>
                <a:lnTo>
                  <a:pt x="6096000" y="133757"/>
                </a:lnTo>
                <a:cubicBezTo>
                  <a:pt x="6096000" y="1105896"/>
                  <a:pt x="6096000" y="2375629"/>
                  <a:pt x="6096000" y="4034055"/>
                </a:cubicBezTo>
                <a:cubicBezTo>
                  <a:pt x="6096000" y="6848354"/>
                  <a:pt x="721895" y="5492896"/>
                  <a:pt x="0" y="5309105"/>
                </a:cubicBezTo>
                <a:cubicBezTo>
                  <a:pt x="0" y="5309105"/>
                  <a:pt x="0" y="5309105"/>
                  <a:pt x="0" y="8972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7155492" y="2453640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chemeClr val="accent3"/>
                </a:solidFill>
              </a:rPr>
              <a:t>About </a:t>
            </a:r>
            <a:r>
              <a:rPr lang="en-US" sz="1600" dirty="0" err="1">
                <a:solidFill>
                  <a:schemeClr val="accent3"/>
                </a:solidFill>
              </a:rPr>
              <a:t>Sogeti</a:t>
            </a:r>
            <a:endParaRPr lang="en-US" sz="1600" dirty="0">
              <a:solidFill>
                <a:schemeClr val="accent3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7155492" y="4369631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 dirty="0">
                <a:solidFill>
                  <a:schemeClr val="tx1"/>
                </a:solidFill>
              </a:rPr>
              <a:t>Learn more about us at</a:t>
            </a:r>
            <a:endParaRPr lang="en-US" sz="900" dirty="0">
              <a:solidFill>
                <a:schemeClr val="accent3"/>
              </a:solidFill>
            </a:endParaRP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 dirty="0">
                <a:solidFill>
                  <a:schemeClr val="accent3"/>
                </a:solidFill>
              </a:rPr>
              <a:t>www.sogeti.com</a:t>
            </a:r>
          </a:p>
        </p:txBody>
      </p:sp>
      <p:sp>
        <p:nvSpPr>
          <p:cNvPr id="30" name="Rectangle 29">
            <a:hlinkClick r:id="rId2"/>
          </p:cNvPr>
          <p:cNvSpPr/>
          <p:nvPr userDrawn="1"/>
        </p:nvSpPr>
        <p:spPr>
          <a:xfrm>
            <a:off x="7175636" y="4555357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420526" y="4596379"/>
            <a:ext cx="3999073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dirty="0" err="1">
                <a:solidFill>
                  <a:schemeClr val="bg1"/>
                </a:solidFill>
                <a:latin typeface="+mn-lt"/>
                <a:cs typeface="Arial"/>
              </a:rPr>
              <a:t>Capgemini</a:t>
            </a: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 Group.</a:t>
            </a:r>
          </a:p>
          <a:p>
            <a:pPr algn="l">
              <a:spcAft>
                <a:spcPts val="600"/>
              </a:spcAft>
            </a:pP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 dirty="0">
                <a:solidFill>
                  <a:schemeClr val="bg1"/>
                </a:solidFill>
                <a:latin typeface="+mn-lt"/>
                <a:cs typeface="Arial"/>
              </a:rPr>
              <a:t>©</a:t>
            </a: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 2021 Sogeti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pic>
        <p:nvPicPr>
          <p:cNvPr id="9" name="Picture 2" descr="D:\My Work\Template\Icons\Social Media\LinkedIN.png">
            <a:hlinkClick r:id="rId4"/>
            <a:extLst>
              <a:ext uri="{FF2B5EF4-FFF2-40B4-BE49-F238E27FC236}">
                <a16:creationId xmlns:a16="http://schemas.microsoft.com/office/drawing/2014/main" id="{69B0AD73-FA6F-418A-94C3-EED4E25A53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0526" y="3962400"/>
            <a:ext cx="333195" cy="333195"/>
          </a:xfrm>
          <a:prstGeom prst="rect">
            <a:avLst/>
          </a:prstGeom>
          <a:noFill/>
        </p:spPr>
      </p:pic>
      <p:pic>
        <p:nvPicPr>
          <p:cNvPr id="12" name="Picture 5" descr="D:\My Work\Template\Icons\Social Media\Twitter.png">
            <a:hlinkClick r:id="rId6"/>
            <a:extLst>
              <a:ext uri="{FF2B5EF4-FFF2-40B4-BE49-F238E27FC236}">
                <a16:creationId xmlns:a16="http://schemas.microsoft.com/office/drawing/2014/main" id="{CD01C794-85B7-4ED7-A647-3BFD39BDA8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03902" y="3962400"/>
            <a:ext cx="333195" cy="333195"/>
          </a:xfrm>
          <a:prstGeom prst="rect">
            <a:avLst/>
          </a:prstGeom>
          <a:noFill/>
        </p:spPr>
      </p:pic>
      <p:pic>
        <p:nvPicPr>
          <p:cNvPr id="13" name="Picture 6" descr="D:\My Work\Template\Icons\Social Media\YouTube.png">
            <a:hlinkClick r:id="rId8"/>
            <a:extLst>
              <a:ext uri="{FF2B5EF4-FFF2-40B4-BE49-F238E27FC236}">
                <a16:creationId xmlns:a16="http://schemas.microsoft.com/office/drawing/2014/main" id="{721FA104-A027-4E51-8E5C-6108C26E22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87278" y="39624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C9E7AB6-360B-4526-A05F-E716E577D207}"/>
              </a:ext>
            </a:extLst>
          </p:cNvPr>
          <p:cNvSpPr/>
          <p:nvPr userDrawn="1"/>
        </p:nvSpPr>
        <p:spPr>
          <a:xfrm>
            <a:off x="7155491" y="2852936"/>
            <a:ext cx="46280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83689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2010606"/>
            <a:ext cx="5543551" cy="444258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F279807-494A-45DD-A5C6-24F625316B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0465" y="2010606"/>
            <a:ext cx="5516444" cy="444137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7" y="1420990"/>
            <a:ext cx="5543551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0465" y="1420990"/>
            <a:ext cx="5516444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insert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79F1DAD-5BB1-4142-B838-01DB99370135}"/>
              </a:ext>
            </a:extLst>
          </p:cNvPr>
          <p:cNvSpPr/>
          <p:nvPr userDrawn="1"/>
        </p:nvSpPr>
        <p:spPr>
          <a:xfrm>
            <a:off x="0" y="4077072"/>
            <a:ext cx="12192000" cy="239632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4C1CAD0-39C3-4CE2-A9E9-8CA99EFF53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1423337"/>
            <a:ext cx="3584661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8D6FD04F-776D-4BC2-9828-DC149A95B7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7853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5A2CDF95-9D29-4775-8BEF-90BC5372B7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2171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6012FFDA-311F-429E-998E-F6E6B0A7186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7987" y="4231996"/>
            <a:ext cx="11376025" cy="412363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>
              <a:defRPr lang="en-US" b="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488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22171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17853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6487" y="4674187"/>
            <a:ext cx="11357525" cy="170714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4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2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959320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C1A94F9-DC7A-4538-8277-70A44CA101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115" y="190341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74E803A8-AB56-45EC-B2C1-515FBB73BB3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55195" y="190341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9D1BE315-6BE9-4C05-9EDD-2BF1E94315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4115" y="437945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21" name="Picture Placeholder 17">
            <a:extLst>
              <a:ext uri="{FF2B5EF4-FFF2-40B4-BE49-F238E27FC236}">
                <a16:creationId xmlns:a16="http://schemas.microsoft.com/office/drawing/2014/main" id="{1281E9B6-7C84-4FF5-B198-C8FC0C8924E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55195" y="437945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07568" y="190341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040043" y="190341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207568" y="437945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40043" y="437945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973977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rm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6076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689662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/>
          <p:cNvSpPr/>
          <p:nvPr userDrawn="1"/>
        </p:nvSpPr>
        <p:spPr>
          <a:xfrm>
            <a:off x="-22987" y="0"/>
            <a:ext cx="6223905" cy="6858000"/>
          </a:xfrm>
          <a:custGeom>
            <a:avLst/>
            <a:gdLst>
              <a:gd name="connsiteX0" fmla="*/ 0 w 6223905"/>
              <a:gd name="connsiteY0" fmla="*/ 0 h 6858000"/>
              <a:gd name="connsiteX1" fmla="*/ 4186882 w 6223905"/>
              <a:gd name="connsiteY1" fmla="*/ 0 h 6858000"/>
              <a:gd name="connsiteX2" fmla="*/ 4197034 w 6223905"/>
              <a:gd name="connsiteY2" fmla="*/ 22340 h 6858000"/>
              <a:gd name="connsiteX3" fmla="*/ 5904357 w 6223905"/>
              <a:gd name="connsiteY3" fmla="*/ 3779388 h 6858000"/>
              <a:gd name="connsiteX4" fmla="*/ 5873730 w 6223905"/>
              <a:gd name="connsiteY4" fmla="*/ 6784163 h 6858000"/>
              <a:gd name="connsiteX5" fmla="*/ 5834113 w 6223905"/>
              <a:gd name="connsiteY5" fmla="*/ 6858000 h 6858000"/>
              <a:gd name="connsiteX6" fmla="*/ 0 w 6223905"/>
              <a:gd name="connsiteY6" fmla="*/ 6858000 h 6858000"/>
              <a:gd name="connsiteX7" fmla="*/ 0 w 6223905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23905" h="6858000">
                <a:moveTo>
                  <a:pt x="0" y="0"/>
                </a:moveTo>
                <a:lnTo>
                  <a:pt x="4186882" y="0"/>
                </a:lnTo>
                <a:lnTo>
                  <a:pt x="4197034" y="22340"/>
                </a:lnTo>
                <a:cubicBezTo>
                  <a:pt x="5904357" y="3779388"/>
                  <a:pt x="5904357" y="3779388"/>
                  <a:pt x="5904357" y="3779388"/>
                </a:cubicBezTo>
                <a:cubicBezTo>
                  <a:pt x="6352858" y="4766336"/>
                  <a:pt x="6316954" y="5863968"/>
                  <a:pt x="5873730" y="6784163"/>
                </a:cubicBezTo>
                <a:lnTo>
                  <a:pt x="583411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1080" y="1290009"/>
            <a:ext cx="6513490" cy="4835513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514601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429000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640152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  <p:sp>
        <p:nvSpPr>
          <p:cNvPr id="1415" name="Freeform 15"/>
          <p:cNvSpPr>
            <a:spLocks/>
          </p:cNvSpPr>
          <p:nvPr userDrawn="1"/>
        </p:nvSpPr>
        <p:spPr bwMode="auto">
          <a:xfrm>
            <a:off x="6637408" y="0"/>
            <a:ext cx="5554592" cy="6471083"/>
          </a:xfrm>
          <a:custGeom>
            <a:avLst/>
            <a:gdLst>
              <a:gd name="T0" fmla="*/ 0 w 885"/>
              <a:gd name="T1" fmla="*/ 0 h 1032"/>
              <a:gd name="T2" fmla="*/ 0 w 885"/>
              <a:gd name="T3" fmla="*/ 844 h 1032"/>
              <a:gd name="T4" fmla="*/ 850 w 885"/>
              <a:gd name="T5" fmla="*/ 1026 h 1032"/>
              <a:gd name="T6" fmla="*/ 885 w 885"/>
              <a:gd name="T7" fmla="*/ 1032 h 1032"/>
              <a:gd name="T8" fmla="*/ 885 w 885"/>
              <a:gd name="T9" fmla="*/ 0 h 1032"/>
              <a:gd name="T10" fmla="*/ 0 w 885"/>
              <a:gd name="T11" fmla="*/ 0 h 10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85" h="1032">
                <a:moveTo>
                  <a:pt x="0" y="0"/>
                </a:moveTo>
                <a:cubicBezTo>
                  <a:pt x="0" y="844"/>
                  <a:pt x="0" y="844"/>
                  <a:pt x="0" y="844"/>
                </a:cubicBezTo>
                <a:cubicBezTo>
                  <a:pt x="233" y="908"/>
                  <a:pt x="516" y="969"/>
                  <a:pt x="850" y="1026"/>
                </a:cubicBezTo>
                <a:cubicBezTo>
                  <a:pt x="861" y="1028"/>
                  <a:pt x="873" y="1030"/>
                  <a:pt x="885" y="1032"/>
                </a:cubicBezTo>
                <a:cubicBezTo>
                  <a:pt x="885" y="0"/>
                  <a:pt x="885" y="0"/>
                  <a:pt x="885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590" name="Picture 158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6547" y="244132"/>
            <a:ext cx="5712493" cy="7067728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408560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3229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893211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 userDrawn="1"/>
        </p:nvSpPr>
        <p:spPr>
          <a:xfrm>
            <a:off x="0" y="0"/>
            <a:ext cx="6759210" cy="4518977"/>
          </a:xfrm>
          <a:custGeom>
            <a:avLst/>
            <a:gdLst>
              <a:gd name="connsiteX0" fmla="*/ 0 w 6759210"/>
              <a:gd name="connsiteY0" fmla="*/ 0 h 4518977"/>
              <a:gd name="connsiteX1" fmla="*/ 6759210 w 6759210"/>
              <a:gd name="connsiteY1" fmla="*/ 0 h 4518977"/>
              <a:gd name="connsiteX2" fmla="*/ 6756415 w 6759210"/>
              <a:gd name="connsiteY2" fmla="*/ 16666 h 4518977"/>
              <a:gd name="connsiteX3" fmla="*/ 6372387 w 6759210"/>
              <a:gd name="connsiteY3" fmla="*/ 2306550 h 4518977"/>
              <a:gd name="connsiteX4" fmla="*/ 3762973 w 6759210"/>
              <a:gd name="connsiteY4" fmla="*/ 4518977 h 4518977"/>
              <a:gd name="connsiteX5" fmla="*/ 339369 w 6759210"/>
              <a:gd name="connsiteY5" fmla="*/ 4518977 h 4518977"/>
              <a:gd name="connsiteX6" fmla="*/ 0 w 6759210"/>
              <a:gd name="connsiteY6" fmla="*/ 4518977 h 4518977"/>
              <a:gd name="connsiteX7" fmla="*/ 0 w 6759210"/>
              <a:gd name="connsiteY7" fmla="*/ 0 h 4518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59210" h="4518977">
                <a:moveTo>
                  <a:pt x="0" y="0"/>
                </a:moveTo>
                <a:lnTo>
                  <a:pt x="6759210" y="0"/>
                </a:lnTo>
                <a:lnTo>
                  <a:pt x="6756415" y="16666"/>
                </a:lnTo>
                <a:cubicBezTo>
                  <a:pt x="6686854" y="431442"/>
                  <a:pt x="6569700" y="1130011"/>
                  <a:pt x="6372387" y="2306550"/>
                </a:cubicBezTo>
                <a:cubicBezTo>
                  <a:pt x="6162872" y="3588428"/>
                  <a:pt x="5058156" y="4518977"/>
                  <a:pt x="3762973" y="4518977"/>
                </a:cubicBezTo>
                <a:cubicBezTo>
                  <a:pt x="3762973" y="4518977"/>
                  <a:pt x="3762973" y="4518977"/>
                  <a:pt x="339369" y="4518977"/>
                </a:cubicBezTo>
                <a:lnTo>
                  <a:pt x="0" y="4518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443741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358140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1838" y="777924"/>
            <a:ext cx="5321672" cy="5770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57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 rot="5400000">
            <a:off x="11885731" y="885110"/>
            <a:ext cx="1723717" cy="344332"/>
            <a:chOff x="12496801" y="706628"/>
            <a:chExt cx="2975350" cy="594360"/>
          </a:xfrm>
        </p:grpSpPr>
        <p:sp>
          <p:nvSpPr>
            <p:cNvPr id="5" name="Rectangle 4"/>
            <p:cNvSpPr/>
            <p:nvPr userDrawn="1"/>
          </p:nvSpPr>
          <p:spPr>
            <a:xfrm>
              <a:off x="12496801" y="706628"/>
              <a:ext cx="595070" cy="59436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13091871" y="706628"/>
              <a:ext cx="595070" cy="5943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13686941" y="706628"/>
              <a:ext cx="595070" cy="5943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4282011" y="706628"/>
              <a:ext cx="595070" cy="5943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14877081" y="706628"/>
              <a:ext cx="595070" cy="59436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</p:grpSp>
      <p:sp>
        <p:nvSpPr>
          <p:cNvPr id="26" name="Rectangle 25"/>
          <p:cNvSpPr/>
          <p:nvPr userDrawn="1"/>
        </p:nvSpPr>
        <p:spPr>
          <a:xfrm rot="16200000">
            <a:off x="11722550" y="4349305"/>
            <a:ext cx="1394613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chemeClr val="tx2"/>
                </a:solidFill>
              </a:rPr>
              <a:t>Infographic Palette</a:t>
            </a:r>
          </a:p>
        </p:txBody>
      </p:sp>
      <p:grpSp>
        <p:nvGrpSpPr>
          <p:cNvPr id="64" name="Group 63"/>
          <p:cNvGrpSpPr/>
          <p:nvPr userDrawn="1"/>
        </p:nvGrpSpPr>
        <p:grpSpPr>
          <a:xfrm>
            <a:off x="12575423" y="2015626"/>
            <a:ext cx="347472" cy="4821246"/>
            <a:chOff x="12575423" y="2604463"/>
            <a:chExt cx="347472" cy="4821246"/>
          </a:xfrm>
        </p:grpSpPr>
        <p:sp>
          <p:nvSpPr>
            <p:cNvPr id="11" name="Rectangle 10"/>
            <p:cNvSpPr/>
            <p:nvPr userDrawn="1"/>
          </p:nvSpPr>
          <p:spPr>
            <a:xfrm>
              <a:off x="12575423" y="2604463"/>
              <a:ext cx="347472" cy="347472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12575423" y="2951375"/>
              <a:ext cx="347472" cy="347472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12575423" y="4334164"/>
              <a:ext cx="347472" cy="347472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12575423" y="5710816"/>
              <a:ext cx="347472" cy="347472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12575423" y="6048324"/>
              <a:ext cx="347472" cy="347472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2575423" y="7078237"/>
              <a:ext cx="347472" cy="347472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12575423" y="6735214"/>
              <a:ext cx="347472" cy="347472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2575423" y="6391347"/>
              <a:ext cx="347472" cy="347472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12575423" y="4679467"/>
              <a:ext cx="347472" cy="347472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12575423" y="5022490"/>
              <a:ext cx="347472" cy="347472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12575423" y="5367793"/>
              <a:ext cx="347472" cy="347472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12575423" y="3298847"/>
              <a:ext cx="347472" cy="347472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12575423" y="3644150"/>
              <a:ext cx="347472" cy="347472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2575423" y="3987173"/>
              <a:ext cx="347472" cy="347472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</p:grpSp>
      <p:sp>
        <p:nvSpPr>
          <p:cNvPr id="60" name="Rectangle 59"/>
          <p:cNvSpPr/>
          <p:nvPr userDrawn="1"/>
        </p:nvSpPr>
        <p:spPr>
          <a:xfrm rot="16200000">
            <a:off x="12134522" y="931087"/>
            <a:ext cx="57066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7" name="Retângulo 43">
            <a:extLst>
              <a:ext uri="{FF2B5EF4-FFF2-40B4-BE49-F238E27FC236}">
                <a16:creationId xmlns:a16="http://schemas.microsoft.com/office/drawing/2014/main" id="{1FCECE0D-597B-4F85-B096-E094159894EB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32" name="Retângulo 43">
            <a:extLst>
              <a:ext uri="{FF2B5EF4-FFF2-40B4-BE49-F238E27FC236}">
                <a16:creationId xmlns:a16="http://schemas.microsoft.com/office/drawing/2014/main" id="{D2BD3233-55BA-4E31-8DE7-BEF1438AB184}"/>
              </a:ext>
            </a:extLst>
          </p:cNvPr>
          <p:cNvSpPr/>
          <p:nvPr userDrawn="1"/>
        </p:nvSpPr>
        <p:spPr>
          <a:xfrm>
            <a:off x="9750926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21 Soget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34" r:id="rId2"/>
    <p:sldLayoutId id="2147483735" r:id="rId3"/>
    <p:sldLayoutId id="2147483739" r:id="rId4"/>
    <p:sldLayoutId id="2147483846" r:id="rId5"/>
    <p:sldLayoutId id="2147483851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pos="257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8625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40" r:id="rId2"/>
    <p:sldLayoutId id="2147483813" r:id="rId3"/>
    <p:sldLayoutId id="2147483816" r:id="rId4"/>
    <p:sldLayoutId id="2147483821" r:id="rId5"/>
  </p:sldLayoutIdLst>
  <p:hf sldNum="0" hdr="0" ftr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25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1682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31" r:id="rId2"/>
    <p:sldLayoutId id="2147483852" r:id="rId3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5" orient="horz" pos="4065" userDrawn="1">
          <p15:clr>
            <a:srgbClr val="F26B43"/>
          </p15:clr>
        </p15:guide>
        <p15:guide id="6" orient="horz" pos="799" userDrawn="1">
          <p15:clr>
            <a:srgbClr val="F26B43"/>
          </p15:clr>
        </p15:guide>
        <p15:guide id="7" orient="horz" pos="89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076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849" r:id="rId3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Applicatie</a:t>
            </a:r>
            <a:r>
              <a:rPr lang="en-US" dirty="0"/>
              <a:t> packaging</a:t>
            </a:r>
          </a:p>
        </p:txBody>
      </p:sp>
      <p:sp>
        <p:nvSpPr>
          <p:cNvPr id="14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0"/>
            <a:r>
              <a:rPr lang="nl-NL" dirty="0"/>
              <a:t>Stappen</a:t>
            </a:r>
            <a:r>
              <a:rPr lang="en-US" dirty="0"/>
              <a:t> in het </a:t>
            </a:r>
            <a:r>
              <a:rPr lang="nl-NL" dirty="0"/>
              <a:t>proces</a:t>
            </a:r>
          </a:p>
        </p:txBody>
      </p:sp>
    </p:spTree>
    <p:extLst>
      <p:ext uri="{BB962C8B-B14F-4D97-AF65-F5344CB8AC3E}">
        <p14:creationId xmlns:p14="http://schemas.microsoft.com/office/powerpoint/2010/main" val="35515165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ackaging stappen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2573659" y="1485049"/>
            <a:ext cx="2160000" cy="2160000"/>
            <a:chOff x="1049659" y="1485049"/>
            <a:chExt cx="2160000" cy="2160000"/>
          </a:xfrm>
        </p:grpSpPr>
        <p:sp>
          <p:nvSpPr>
            <p:cNvPr id="16" name="Rectangle 10"/>
            <p:cNvSpPr>
              <a:spLocks/>
            </p:cNvSpPr>
            <p:nvPr/>
          </p:nvSpPr>
          <p:spPr bwMode="auto">
            <a:xfrm>
              <a:off x="1049659" y="1485049"/>
              <a:ext cx="2160000" cy="2160000"/>
            </a:xfrm>
            <a:prstGeom prst="rect">
              <a:avLst/>
            </a:prstGeom>
            <a:solidFill>
              <a:srgbClr val="D5D4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" name="Rectangle 2"/>
            <p:cNvSpPr/>
            <p:nvPr/>
          </p:nvSpPr>
          <p:spPr>
            <a:xfrm>
              <a:off x="1451428" y="2981901"/>
              <a:ext cx="1356462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NL" sz="2400" b="1" dirty="0">
                  <a:solidFill>
                    <a:srgbClr val="00206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" pitchFamily="2" charset="2"/>
                </a:rPr>
                <a:t>Collect</a:t>
              </a:r>
              <a:endParaRPr lang="nl-NL" sz="24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599706" y="1602866"/>
              <a:ext cx="1059906" cy="15696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NL" sz="9600" b="1" dirty="0">
                  <a:solidFill>
                    <a:srgbClr val="6B5C4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" pitchFamily="2" charset="2"/>
                </a:rPr>
                <a:t>1</a:t>
              </a:r>
              <a:endParaRPr lang="nl-NL" sz="9600" b="1" dirty="0">
                <a:solidFill>
                  <a:srgbClr val="6B5C4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6" name="Rectangle 5"/>
          <p:cNvSpPr/>
          <p:nvPr/>
        </p:nvSpPr>
        <p:spPr>
          <a:xfrm>
            <a:off x="7458341" y="3988255"/>
            <a:ext cx="2160000" cy="986800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1588" lvl="1" indent="-1588" algn="ctr">
              <a:lnSpc>
                <a:spcPct val="90000"/>
              </a:lnSpc>
              <a:spcBef>
                <a:spcPts val="100"/>
              </a:spcBef>
              <a:buClr>
                <a:srgbClr val="003366"/>
              </a:buClr>
              <a:tabLst>
                <a:tab pos="4571460" algn="r"/>
              </a:tabLst>
              <a:defRPr/>
            </a:pPr>
            <a:r>
              <a:rPr lang="nl-NL" sz="2200" dirty="0">
                <a:solidFill>
                  <a:srgbClr val="6B5C4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Intake, bouw &amp; test packag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73659" y="3988255"/>
            <a:ext cx="2160000" cy="986800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1588" lvl="1" indent="-1588" algn="ctr">
              <a:lnSpc>
                <a:spcPct val="90000"/>
              </a:lnSpc>
              <a:spcBef>
                <a:spcPts val="100"/>
              </a:spcBef>
              <a:buClr>
                <a:srgbClr val="003366"/>
              </a:buClr>
              <a:tabLst>
                <a:tab pos="4571460" algn="r"/>
              </a:tabLst>
            </a:pPr>
            <a:r>
              <a:rPr lang="nl-NL" sz="2200" dirty="0">
                <a:solidFill>
                  <a:srgbClr val="6B5C4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Opstellen definitieve applicatie lijst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017674" y="3988258"/>
            <a:ext cx="2160000" cy="986800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1588" lvl="1" indent="-1588" algn="ctr">
              <a:lnSpc>
                <a:spcPct val="90000"/>
              </a:lnSpc>
              <a:spcBef>
                <a:spcPts val="100"/>
              </a:spcBef>
              <a:buClr>
                <a:srgbClr val="003366"/>
              </a:buClr>
              <a:tabLst>
                <a:tab pos="4571460" algn="r"/>
              </a:tabLst>
            </a:pPr>
            <a:r>
              <a:rPr lang="nl-NL" sz="2200" dirty="0">
                <a:solidFill>
                  <a:srgbClr val="6B5C4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Package team, proces en standaarden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5016000" y="1485049"/>
            <a:ext cx="2160000" cy="2160000"/>
            <a:chOff x="3492000" y="1485049"/>
            <a:chExt cx="2160000" cy="2160000"/>
          </a:xfrm>
        </p:grpSpPr>
        <p:sp>
          <p:nvSpPr>
            <p:cNvPr id="17" name="Rectangle 10"/>
            <p:cNvSpPr>
              <a:spLocks/>
            </p:cNvSpPr>
            <p:nvPr/>
          </p:nvSpPr>
          <p:spPr bwMode="auto">
            <a:xfrm>
              <a:off x="3492000" y="1485049"/>
              <a:ext cx="2160000" cy="2160000"/>
            </a:xfrm>
            <a:prstGeom prst="rect">
              <a:avLst/>
            </a:prstGeom>
            <a:solidFill>
              <a:srgbClr val="D5D4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981133" y="2981901"/>
              <a:ext cx="118173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NL" sz="2400" b="1" dirty="0">
                  <a:solidFill>
                    <a:srgbClr val="00206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" pitchFamily="2" charset="2"/>
                </a:rPr>
                <a:t>Setup</a:t>
              </a:r>
              <a:endParaRPr lang="nl-NL" sz="24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4042047" y="1602866"/>
              <a:ext cx="1059906" cy="15696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NL" sz="9600" b="1" dirty="0">
                  <a:solidFill>
                    <a:srgbClr val="6B5C4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" pitchFamily="2" charset="2"/>
                </a:rPr>
                <a:t>2</a:t>
              </a:r>
              <a:endParaRPr lang="nl-NL" sz="9600" b="1" dirty="0">
                <a:solidFill>
                  <a:srgbClr val="6B5C4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7458341" y="1485049"/>
            <a:ext cx="2160000" cy="2160000"/>
            <a:chOff x="5934341" y="1485049"/>
            <a:chExt cx="2160000" cy="2160000"/>
          </a:xfrm>
        </p:grpSpPr>
        <p:sp>
          <p:nvSpPr>
            <p:cNvPr id="18" name="Rectangle 10"/>
            <p:cNvSpPr>
              <a:spLocks/>
            </p:cNvSpPr>
            <p:nvPr/>
          </p:nvSpPr>
          <p:spPr bwMode="auto">
            <a:xfrm>
              <a:off x="5934341" y="1485049"/>
              <a:ext cx="2160000" cy="2160000"/>
            </a:xfrm>
            <a:prstGeom prst="rect">
              <a:avLst/>
            </a:prstGeom>
            <a:solidFill>
              <a:srgbClr val="D5D4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" name="Rectangle 1"/>
            <p:cNvSpPr/>
            <p:nvPr/>
          </p:nvSpPr>
          <p:spPr>
            <a:xfrm>
              <a:off x="6582171" y="2972771"/>
              <a:ext cx="864339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NL" sz="2400" b="1" dirty="0">
                  <a:solidFill>
                    <a:srgbClr val="00206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" pitchFamily="2" charset="2"/>
                </a:rPr>
                <a:t>Run</a:t>
              </a:r>
              <a:endParaRPr lang="nl-NL" sz="24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484388" y="1602866"/>
              <a:ext cx="1059906" cy="15696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NL" sz="9600" b="1" dirty="0">
                  <a:solidFill>
                    <a:srgbClr val="6B5C4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" pitchFamily="2" charset="2"/>
                </a:rPr>
                <a:t>3</a:t>
              </a:r>
              <a:endParaRPr lang="nl-NL" sz="9600" b="1" dirty="0">
                <a:solidFill>
                  <a:srgbClr val="6B5C4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4956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4742221" y="1376772"/>
            <a:ext cx="5490854" cy="4065408"/>
            <a:chOff x="3218221" y="1376772"/>
            <a:chExt cx="5490854" cy="4065408"/>
          </a:xfrm>
          <a:solidFill>
            <a:schemeClr val="bg1"/>
          </a:solidFill>
        </p:grpSpPr>
        <p:sp>
          <p:nvSpPr>
            <p:cNvPr id="17" name="Rectangle 9"/>
            <p:cNvSpPr>
              <a:spLocks/>
            </p:cNvSpPr>
            <p:nvPr/>
          </p:nvSpPr>
          <p:spPr bwMode="auto">
            <a:xfrm>
              <a:off x="6021718" y="4162224"/>
              <a:ext cx="1278545" cy="1278545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18" name="Rectangle 10"/>
            <p:cNvSpPr>
              <a:spLocks/>
            </p:cNvSpPr>
            <p:nvPr/>
          </p:nvSpPr>
          <p:spPr bwMode="auto">
            <a:xfrm>
              <a:off x="4630400" y="4162224"/>
              <a:ext cx="1264450" cy="1279956"/>
            </a:xfrm>
            <a:prstGeom prst="rect">
              <a:avLst/>
            </a:prstGeom>
            <a:no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dirty="0">
                <a:solidFill>
                  <a:srgbClr val="6B5C4F"/>
                </a:solidFill>
              </a:endParaRPr>
            </a:p>
          </p:txBody>
        </p:sp>
        <p:sp>
          <p:nvSpPr>
            <p:cNvPr id="19" name="Rectangle 8"/>
            <p:cNvSpPr>
              <a:spLocks/>
            </p:cNvSpPr>
            <p:nvPr/>
          </p:nvSpPr>
          <p:spPr bwMode="auto">
            <a:xfrm>
              <a:off x="3218785" y="2769498"/>
              <a:ext cx="1279955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9"/>
            <p:cNvSpPr>
              <a:spLocks/>
            </p:cNvSpPr>
            <p:nvPr/>
          </p:nvSpPr>
          <p:spPr bwMode="auto">
            <a:xfrm>
              <a:off x="3218221" y="1376772"/>
              <a:ext cx="1285311" cy="1278546"/>
            </a:xfrm>
            <a:prstGeom prst="rect">
              <a:avLst/>
            </a:prstGeom>
            <a:no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21" name="Rectangle 9"/>
            <p:cNvSpPr>
              <a:spLocks/>
            </p:cNvSpPr>
            <p:nvPr/>
          </p:nvSpPr>
          <p:spPr bwMode="auto">
            <a:xfrm>
              <a:off x="6025101" y="1376772"/>
              <a:ext cx="1275162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9"/>
            <p:cNvSpPr>
              <a:spLocks/>
            </p:cNvSpPr>
            <p:nvPr/>
          </p:nvSpPr>
          <p:spPr bwMode="auto">
            <a:xfrm>
              <a:off x="6024820" y="2769498"/>
              <a:ext cx="1278545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/>
            <p:cNvSpPr>
              <a:spLocks/>
            </p:cNvSpPr>
            <p:nvPr/>
          </p:nvSpPr>
          <p:spPr bwMode="auto">
            <a:xfrm>
              <a:off x="4622507" y="2769498"/>
              <a:ext cx="1278546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24" name="Rectangle 9"/>
            <p:cNvSpPr>
              <a:spLocks/>
            </p:cNvSpPr>
            <p:nvPr/>
          </p:nvSpPr>
          <p:spPr bwMode="auto">
            <a:xfrm>
              <a:off x="3223577" y="4162224"/>
              <a:ext cx="1279955" cy="1278545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25" name="Rectangle 9"/>
            <p:cNvSpPr>
              <a:spLocks/>
            </p:cNvSpPr>
            <p:nvPr/>
          </p:nvSpPr>
          <p:spPr bwMode="auto">
            <a:xfrm>
              <a:off x="7427132" y="4162224"/>
              <a:ext cx="1278545" cy="1278545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dirty="0">
                <a:solidFill>
                  <a:srgbClr val="6B5C4F"/>
                </a:solidFill>
              </a:endParaRPr>
            </a:p>
          </p:txBody>
        </p:sp>
        <p:sp>
          <p:nvSpPr>
            <p:cNvPr id="26" name="Rectangle 9"/>
            <p:cNvSpPr>
              <a:spLocks/>
            </p:cNvSpPr>
            <p:nvPr/>
          </p:nvSpPr>
          <p:spPr bwMode="auto">
            <a:xfrm>
              <a:off x="7427132" y="2769498"/>
              <a:ext cx="1278545" cy="1278546"/>
            </a:xfrm>
            <a:prstGeom prst="rect">
              <a:avLst/>
            </a:prstGeom>
            <a:no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/>
              <a:endParaRPr 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10"/>
            <p:cNvSpPr>
              <a:spLocks/>
            </p:cNvSpPr>
            <p:nvPr/>
          </p:nvSpPr>
          <p:spPr bwMode="auto">
            <a:xfrm>
              <a:off x="4616303" y="1376772"/>
              <a:ext cx="1278546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28" name="Rectangle 9"/>
            <p:cNvSpPr>
              <a:spLocks/>
            </p:cNvSpPr>
            <p:nvPr/>
          </p:nvSpPr>
          <p:spPr bwMode="auto">
            <a:xfrm>
              <a:off x="7433913" y="1376772"/>
              <a:ext cx="1275162" cy="127854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62" name="Rectangle 7"/>
          <p:cNvSpPr>
            <a:spLocks/>
          </p:cNvSpPr>
          <p:nvPr/>
        </p:nvSpPr>
        <p:spPr bwMode="auto">
          <a:xfrm>
            <a:off x="1936750" y="4162224"/>
            <a:ext cx="2681984" cy="1279956"/>
          </a:xfrm>
          <a:prstGeom prst="rect">
            <a:avLst/>
          </a:prstGeom>
          <a:solidFill>
            <a:srgbClr val="6B5C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buClr>
                <a:srgbClr val="DE3819"/>
              </a:buClr>
            </a:pPr>
            <a:r>
              <a:rPr lang="nl-NL" sz="2000" b="1" dirty="0">
                <a:solidFill>
                  <a:schemeClr val="bg1"/>
                </a:solidFill>
                <a:latin typeface="Verdana" panose="020B0604030504040204" pitchFamily="34" charset="0"/>
              </a:rPr>
              <a:t> Rationaliseren om inspanning te minimaliseren</a:t>
            </a:r>
          </a:p>
        </p:txBody>
      </p:sp>
      <p:sp>
        <p:nvSpPr>
          <p:cNvPr id="14338" name="Titel 1"/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</p:spPr>
        <p:txBody>
          <a:bodyPr/>
          <a:lstStyle/>
          <a:p>
            <a:r>
              <a:rPr lang="nl-NL" dirty="0"/>
              <a:t>Applicatie inventarisati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8A24871-5DFE-479B-854E-09CE51AFE172}"/>
              </a:ext>
            </a:extLst>
          </p:cNvPr>
          <p:cNvGrpSpPr/>
          <p:nvPr/>
        </p:nvGrpSpPr>
        <p:grpSpPr>
          <a:xfrm>
            <a:off x="4815869" y="260648"/>
            <a:ext cx="5384587" cy="6192688"/>
            <a:chOff x="5051045" y="662043"/>
            <a:chExt cx="4462368" cy="5287364"/>
          </a:xfrm>
        </p:grpSpPr>
        <p:pic>
          <p:nvPicPr>
            <p:cNvPr id="33" name="Picture 67">
              <a:extLst>
                <a:ext uri="{FF2B5EF4-FFF2-40B4-BE49-F238E27FC236}">
                  <a16:creationId xmlns:a16="http://schemas.microsoft.com/office/drawing/2014/main" id="{1927B5F1-82E3-4FC9-886E-0D9BE3E80D6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79576" y="4919217"/>
              <a:ext cx="1022591" cy="1030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9" name="Group 6"/>
            <p:cNvGrpSpPr>
              <a:grpSpLocks/>
            </p:cNvGrpSpPr>
            <p:nvPr/>
          </p:nvGrpSpPr>
          <p:grpSpPr bwMode="auto">
            <a:xfrm>
              <a:off x="5051045" y="662043"/>
              <a:ext cx="4462368" cy="4549719"/>
              <a:chOff x="7306918" y="3131314"/>
              <a:chExt cx="1408113" cy="1718553"/>
            </a:xfrm>
          </p:grpSpPr>
          <p:pic>
            <p:nvPicPr>
              <p:cNvPr id="50" name="Picture 67"/>
              <p:cNvPicPr>
                <a:picLocks noChangeAspect="1" noChangeArrowheads="1"/>
              </p:cNvPicPr>
              <p:nvPr/>
            </p:nvPicPr>
            <p:blipFill>
              <a:blip r:embed="rId2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0973" y="4198665"/>
                <a:ext cx="540000" cy="6512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1" name="Picture 67"/>
              <p:cNvPicPr>
                <a:picLocks noChangeAspect="1" noChangeArrowheads="1"/>
              </p:cNvPicPr>
              <p:nvPr/>
            </p:nvPicPr>
            <p:blipFill>
              <a:blip r:embed="rId2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78973" y="3745144"/>
                <a:ext cx="864000" cy="6530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2" name="Picture 67"/>
              <p:cNvPicPr>
                <a:picLocks noChangeAspect="1" noChangeArrowheads="1"/>
              </p:cNvPicPr>
              <p:nvPr/>
            </p:nvPicPr>
            <p:blipFill>
              <a:blip r:embed="rId2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06918" y="3131314"/>
                <a:ext cx="1408113" cy="8223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5" name="Group 4"/>
          <p:cNvGrpSpPr/>
          <p:nvPr/>
        </p:nvGrpSpPr>
        <p:grpSpPr>
          <a:xfrm>
            <a:off x="7227748" y="1996168"/>
            <a:ext cx="3476764" cy="540000"/>
            <a:chOff x="5467452" y="2415610"/>
            <a:chExt cx="2954272" cy="540000"/>
          </a:xfrm>
        </p:grpSpPr>
        <p:sp>
          <p:nvSpPr>
            <p:cNvPr id="39" name="Rectangular Callout 53"/>
            <p:cNvSpPr/>
            <p:nvPr/>
          </p:nvSpPr>
          <p:spPr bwMode="auto">
            <a:xfrm flipH="1">
              <a:off x="5768600" y="2445438"/>
              <a:ext cx="2653124" cy="468000"/>
            </a:xfrm>
            <a:prstGeom prst="wedgeRectCallout">
              <a:avLst>
                <a:gd name="adj1" fmla="val -28425"/>
                <a:gd name="adj2" fmla="val 32450"/>
              </a:avLst>
            </a:prstGeom>
            <a:solidFill>
              <a:srgbClr val="002060"/>
            </a:solidFill>
            <a:ln w="9525">
              <a:solidFill>
                <a:srgbClr val="005A82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180000" tIns="0" rIns="91436" bIns="0" anchor="ctr"/>
            <a:lstStyle/>
            <a:p>
              <a:pPr algn="ctr" defTabSz="914099">
                <a:defRPr/>
              </a:pPr>
              <a:r>
                <a:rPr lang="nl-NL" i="1" kern="0" dirty="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Inventariseren</a:t>
              </a:r>
            </a:p>
          </p:txBody>
        </p:sp>
        <p:sp>
          <p:nvSpPr>
            <p:cNvPr id="48" name="Oval 27"/>
            <p:cNvSpPr/>
            <p:nvPr/>
          </p:nvSpPr>
          <p:spPr bwMode="auto">
            <a:xfrm flipH="1">
              <a:off x="5467452" y="2415610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2060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/>
              <a:r>
                <a:rPr lang="nl-NL" sz="2000" b="1" kern="0" dirty="0">
                  <a:solidFill>
                    <a:srgbClr val="002060"/>
                  </a:solidFill>
                  <a:latin typeface="Verdana"/>
                </a:rPr>
                <a:t>1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7228976" y="3355732"/>
            <a:ext cx="3475535" cy="540000"/>
            <a:chOff x="5467452" y="3666760"/>
            <a:chExt cx="2954272" cy="540000"/>
          </a:xfrm>
        </p:grpSpPr>
        <p:sp>
          <p:nvSpPr>
            <p:cNvPr id="40" name="Rectangular Callout 54"/>
            <p:cNvSpPr/>
            <p:nvPr/>
          </p:nvSpPr>
          <p:spPr bwMode="auto">
            <a:xfrm flipH="1">
              <a:off x="5768600" y="3702956"/>
              <a:ext cx="2653124" cy="468000"/>
            </a:xfrm>
            <a:prstGeom prst="wedgeRectCallout">
              <a:avLst>
                <a:gd name="adj1" fmla="val 25272"/>
                <a:gd name="adj2" fmla="val -31016"/>
              </a:avLst>
            </a:prstGeom>
            <a:solidFill>
              <a:srgbClr val="002060"/>
            </a:solidFill>
            <a:ln w="9525">
              <a:solidFill>
                <a:srgbClr val="002060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180000" tIns="0" rIns="91436" bIns="0" anchor="ctr"/>
            <a:lstStyle/>
            <a:p>
              <a:pPr algn="ctr" defTabSz="914099">
                <a:defRPr/>
              </a:pPr>
              <a:r>
                <a:rPr lang="nl-NL" i="1" kern="0" dirty="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Categoriseren</a:t>
              </a:r>
            </a:p>
          </p:txBody>
        </p:sp>
        <p:sp>
          <p:nvSpPr>
            <p:cNvPr id="53" name="Oval 27"/>
            <p:cNvSpPr/>
            <p:nvPr/>
          </p:nvSpPr>
          <p:spPr bwMode="auto">
            <a:xfrm flipH="1">
              <a:off x="5467452" y="3666760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2060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/>
              <a:r>
                <a:rPr lang="nl-NL" sz="2000" b="1" kern="0" dirty="0">
                  <a:solidFill>
                    <a:srgbClr val="002060"/>
                  </a:solidFill>
                  <a:latin typeface="Verdana"/>
                </a:rPr>
                <a:t>2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7227747" y="4651876"/>
            <a:ext cx="3476763" cy="540000"/>
            <a:chOff x="5467452" y="4917911"/>
            <a:chExt cx="2954272" cy="540000"/>
          </a:xfrm>
        </p:grpSpPr>
        <p:sp>
          <p:nvSpPr>
            <p:cNvPr id="41" name="Rectangular Callout 55"/>
            <p:cNvSpPr/>
            <p:nvPr/>
          </p:nvSpPr>
          <p:spPr bwMode="auto">
            <a:xfrm flipH="1">
              <a:off x="5768600" y="4958757"/>
              <a:ext cx="2653124" cy="468000"/>
            </a:xfrm>
            <a:prstGeom prst="wedgeRectCallout">
              <a:avLst>
                <a:gd name="adj1" fmla="val -22669"/>
                <a:gd name="adj2" fmla="val -13121"/>
              </a:avLst>
            </a:prstGeom>
            <a:solidFill>
              <a:srgbClr val="002060"/>
            </a:solidFill>
            <a:ln w="9525">
              <a:solidFill>
                <a:srgbClr val="002060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180000" tIns="0" rIns="91436" bIns="0" anchor="ctr"/>
            <a:lstStyle/>
            <a:p>
              <a:pPr algn="ctr" defTabSz="914099">
                <a:defRPr/>
              </a:pPr>
              <a:r>
                <a:rPr lang="nl-NL" i="1" kern="0" dirty="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Rationaliseren</a:t>
              </a:r>
            </a:p>
          </p:txBody>
        </p:sp>
        <p:sp>
          <p:nvSpPr>
            <p:cNvPr id="54" name="Oval 27"/>
            <p:cNvSpPr/>
            <p:nvPr/>
          </p:nvSpPr>
          <p:spPr bwMode="auto">
            <a:xfrm flipH="1">
              <a:off x="5467452" y="4917911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2060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/>
              <a:r>
                <a:rPr lang="nl-NL" sz="2000" b="1" kern="0" dirty="0">
                  <a:solidFill>
                    <a:srgbClr val="002060"/>
                  </a:solidFill>
                  <a:latin typeface="Verdana"/>
                </a:rPr>
                <a:t>3</a:t>
              </a:r>
            </a:p>
          </p:txBody>
        </p:sp>
      </p:grpSp>
      <p:sp>
        <p:nvSpPr>
          <p:cNvPr id="59" name="Rectangle 7"/>
          <p:cNvSpPr>
            <a:spLocks/>
          </p:cNvSpPr>
          <p:nvPr/>
        </p:nvSpPr>
        <p:spPr bwMode="auto">
          <a:xfrm>
            <a:off x="1936750" y="1376772"/>
            <a:ext cx="2681985" cy="2671272"/>
          </a:xfrm>
          <a:prstGeom prst="rect">
            <a:avLst/>
          </a:prstGeom>
          <a:solidFill>
            <a:srgbClr val="D5D4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400" b="1" dirty="0">
              <a:solidFill>
                <a:srgbClr val="6B5C4F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2599511" y="3070706"/>
            <a:ext cx="135646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24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Collect</a:t>
            </a:r>
            <a:endParaRPr lang="nl-NL" sz="2400" b="1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2760642" y="1703591"/>
            <a:ext cx="1059906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9600" b="1" dirty="0">
                <a:solidFill>
                  <a:srgbClr val="6B5C4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1</a:t>
            </a:r>
            <a:endParaRPr lang="nl-NL" sz="9600" b="1" dirty="0">
              <a:solidFill>
                <a:srgbClr val="6B5C4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21D0EEA-A5D2-47E1-87C1-8591510B13BD}"/>
              </a:ext>
            </a:extLst>
          </p:cNvPr>
          <p:cNvGrpSpPr/>
          <p:nvPr/>
        </p:nvGrpSpPr>
        <p:grpSpPr>
          <a:xfrm>
            <a:off x="7230920" y="5808670"/>
            <a:ext cx="3473589" cy="540000"/>
            <a:chOff x="5467452" y="4917911"/>
            <a:chExt cx="2954272" cy="540000"/>
          </a:xfrm>
        </p:grpSpPr>
        <p:sp>
          <p:nvSpPr>
            <p:cNvPr id="35" name="Rectangular Callout 55">
              <a:extLst>
                <a:ext uri="{FF2B5EF4-FFF2-40B4-BE49-F238E27FC236}">
                  <a16:creationId xmlns:a16="http://schemas.microsoft.com/office/drawing/2014/main" id="{99BFBF8F-4443-4EC3-855C-25315DFB06A2}"/>
                </a:ext>
              </a:extLst>
            </p:cNvPr>
            <p:cNvSpPr/>
            <p:nvPr/>
          </p:nvSpPr>
          <p:spPr bwMode="auto">
            <a:xfrm flipH="1">
              <a:off x="5768600" y="4958757"/>
              <a:ext cx="2653124" cy="468000"/>
            </a:xfrm>
            <a:prstGeom prst="wedgeRectCallout">
              <a:avLst>
                <a:gd name="adj1" fmla="val -22669"/>
                <a:gd name="adj2" fmla="val -13121"/>
              </a:avLst>
            </a:prstGeom>
            <a:solidFill>
              <a:srgbClr val="002060"/>
            </a:solidFill>
            <a:ln w="9525">
              <a:solidFill>
                <a:srgbClr val="002060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180000" tIns="0" rIns="91436" bIns="0" anchor="ctr"/>
            <a:lstStyle/>
            <a:p>
              <a:pPr algn="ctr" defTabSz="914099">
                <a:defRPr/>
              </a:pPr>
              <a:r>
                <a:rPr lang="nl-NL" i="1" kern="0" dirty="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Prioriteren</a:t>
              </a:r>
            </a:p>
          </p:txBody>
        </p:sp>
        <p:sp>
          <p:nvSpPr>
            <p:cNvPr id="36" name="Oval 27">
              <a:extLst>
                <a:ext uri="{FF2B5EF4-FFF2-40B4-BE49-F238E27FC236}">
                  <a16:creationId xmlns:a16="http://schemas.microsoft.com/office/drawing/2014/main" id="{A5F8E71E-6584-4A8E-9EE6-64AE24F6A81D}"/>
                </a:ext>
              </a:extLst>
            </p:cNvPr>
            <p:cNvSpPr/>
            <p:nvPr/>
          </p:nvSpPr>
          <p:spPr bwMode="auto">
            <a:xfrm flipH="1">
              <a:off x="5467452" y="4917911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2060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/>
              <a:r>
                <a:rPr lang="nl-NL" sz="2000" b="1" kern="0" dirty="0">
                  <a:solidFill>
                    <a:srgbClr val="002060"/>
                  </a:solidFill>
                  <a:latin typeface="Verdana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504119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Group 76">
            <a:extLst>
              <a:ext uri="{FF2B5EF4-FFF2-40B4-BE49-F238E27FC236}">
                <a16:creationId xmlns:a16="http://schemas.microsoft.com/office/drawing/2014/main" id="{EDF6395E-68AC-4DE1-84C5-4D2CE3FE3E9F}"/>
              </a:ext>
            </a:extLst>
          </p:cNvPr>
          <p:cNvGrpSpPr/>
          <p:nvPr/>
        </p:nvGrpSpPr>
        <p:grpSpPr>
          <a:xfrm>
            <a:off x="4742221" y="1376772"/>
            <a:ext cx="5490854" cy="4065408"/>
            <a:chOff x="3218221" y="1376772"/>
            <a:chExt cx="5490854" cy="4065408"/>
          </a:xfrm>
          <a:solidFill>
            <a:schemeClr val="bg1"/>
          </a:solidFill>
        </p:grpSpPr>
        <p:sp>
          <p:nvSpPr>
            <p:cNvPr id="78" name="Rectangle 9">
              <a:extLst>
                <a:ext uri="{FF2B5EF4-FFF2-40B4-BE49-F238E27FC236}">
                  <a16:creationId xmlns:a16="http://schemas.microsoft.com/office/drawing/2014/main" id="{EA7BD20B-B146-41E2-982F-42713FF1B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1718" y="4162224"/>
              <a:ext cx="1278545" cy="1278545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79" name="Rectangle 10">
              <a:extLst>
                <a:ext uri="{FF2B5EF4-FFF2-40B4-BE49-F238E27FC236}">
                  <a16:creationId xmlns:a16="http://schemas.microsoft.com/office/drawing/2014/main" id="{BE777B9D-EDA3-4950-9045-7E121934E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0400" y="4162224"/>
              <a:ext cx="1264450" cy="1279956"/>
            </a:xfrm>
            <a:prstGeom prst="rect">
              <a:avLst/>
            </a:prstGeom>
            <a:no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dirty="0">
                <a:solidFill>
                  <a:srgbClr val="6B5C4F"/>
                </a:solidFill>
              </a:endParaRPr>
            </a:p>
          </p:txBody>
        </p:sp>
        <p:sp>
          <p:nvSpPr>
            <p:cNvPr id="80" name="Rectangle 8">
              <a:extLst>
                <a:ext uri="{FF2B5EF4-FFF2-40B4-BE49-F238E27FC236}">
                  <a16:creationId xmlns:a16="http://schemas.microsoft.com/office/drawing/2014/main" id="{74D8CCC7-606D-4E95-B8EF-BA3D6E8447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8785" y="2769498"/>
              <a:ext cx="1279955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81" name="Rectangle 9">
              <a:extLst>
                <a:ext uri="{FF2B5EF4-FFF2-40B4-BE49-F238E27FC236}">
                  <a16:creationId xmlns:a16="http://schemas.microsoft.com/office/drawing/2014/main" id="{4AA43C78-2280-4E07-9CC9-F6224EE7B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8221" y="1376772"/>
              <a:ext cx="1285311" cy="1278546"/>
            </a:xfrm>
            <a:prstGeom prst="rect">
              <a:avLst/>
            </a:prstGeom>
            <a:no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82" name="Rectangle 9">
              <a:extLst>
                <a:ext uri="{FF2B5EF4-FFF2-40B4-BE49-F238E27FC236}">
                  <a16:creationId xmlns:a16="http://schemas.microsoft.com/office/drawing/2014/main" id="{B19887F8-7C65-49B9-9FE2-929089EB6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5101" y="1376772"/>
              <a:ext cx="1275162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83" name="Rectangle 9">
              <a:extLst>
                <a:ext uri="{FF2B5EF4-FFF2-40B4-BE49-F238E27FC236}">
                  <a16:creationId xmlns:a16="http://schemas.microsoft.com/office/drawing/2014/main" id="{27CBDB2E-F45A-445A-AF9B-22A487E6C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4820" y="2769498"/>
              <a:ext cx="1278545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0">
              <a:extLst>
                <a:ext uri="{FF2B5EF4-FFF2-40B4-BE49-F238E27FC236}">
                  <a16:creationId xmlns:a16="http://schemas.microsoft.com/office/drawing/2014/main" id="{C0C534E7-9B15-428E-AD6A-BED07FA30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2507" y="2769498"/>
              <a:ext cx="1278546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85" name="Rectangle 9">
              <a:extLst>
                <a:ext uri="{FF2B5EF4-FFF2-40B4-BE49-F238E27FC236}">
                  <a16:creationId xmlns:a16="http://schemas.microsoft.com/office/drawing/2014/main" id="{CEDAC44E-5DA7-46B8-BF3F-C628544C67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3577" y="4162224"/>
              <a:ext cx="1279955" cy="1278545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86" name="Rectangle 9">
              <a:extLst>
                <a:ext uri="{FF2B5EF4-FFF2-40B4-BE49-F238E27FC236}">
                  <a16:creationId xmlns:a16="http://schemas.microsoft.com/office/drawing/2014/main" id="{79DC1648-6B63-443A-AC8C-99E8772DE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7132" y="4162224"/>
              <a:ext cx="1278545" cy="1278545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dirty="0">
                <a:solidFill>
                  <a:srgbClr val="6B5C4F"/>
                </a:solidFill>
              </a:endParaRPr>
            </a:p>
          </p:txBody>
        </p:sp>
        <p:sp>
          <p:nvSpPr>
            <p:cNvPr id="87" name="Rectangle 9">
              <a:extLst>
                <a:ext uri="{FF2B5EF4-FFF2-40B4-BE49-F238E27FC236}">
                  <a16:creationId xmlns:a16="http://schemas.microsoft.com/office/drawing/2014/main" id="{FB934476-6931-455D-889F-3E9727772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7132" y="2769498"/>
              <a:ext cx="1278545" cy="1278546"/>
            </a:xfrm>
            <a:prstGeom prst="rect">
              <a:avLst/>
            </a:prstGeom>
            <a:no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/>
              <a:endParaRPr 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88" name="Rectangle 10">
              <a:extLst>
                <a:ext uri="{FF2B5EF4-FFF2-40B4-BE49-F238E27FC236}">
                  <a16:creationId xmlns:a16="http://schemas.microsoft.com/office/drawing/2014/main" id="{30230BDB-15EA-4F5A-A67D-BA40008B1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303" y="1376772"/>
              <a:ext cx="1278546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89" name="Rectangle 9">
              <a:extLst>
                <a:ext uri="{FF2B5EF4-FFF2-40B4-BE49-F238E27FC236}">
                  <a16:creationId xmlns:a16="http://schemas.microsoft.com/office/drawing/2014/main" id="{71A90011-F6B9-44A0-860C-F8B90DA4C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3913" y="1376772"/>
              <a:ext cx="1275162" cy="127854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54" name="Rectangle 7">
            <a:extLst>
              <a:ext uri="{FF2B5EF4-FFF2-40B4-BE49-F238E27FC236}">
                <a16:creationId xmlns:a16="http://schemas.microsoft.com/office/drawing/2014/main" id="{0EE8D41D-3B68-4B24-8DC5-F109F6D4E815}"/>
              </a:ext>
            </a:extLst>
          </p:cNvPr>
          <p:cNvSpPr>
            <a:spLocks/>
          </p:cNvSpPr>
          <p:nvPr/>
        </p:nvSpPr>
        <p:spPr bwMode="auto">
          <a:xfrm>
            <a:off x="1936750" y="4162224"/>
            <a:ext cx="2681984" cy="1279956"/>
          </a:xfrm>
          <a:prstGeom prst="rect">
            <a:avLst/>
          </a:prstGeom>
          <a:solidFill>
            <a:srgbClr val="6B5C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buClr>
                <a:srgbClr val="DE3819"/>
              </a:buClr>
            </a:pPr>
            <a:r>
              <a:rPr lang="nl-NL" sz="2000" b="1" dirty="0">
                <a:solidFill>
                  <a:schemeClr val="bg1"/>
                </a:solidFill>
                <a:latin typeface="Verdana" panose="020B0604030504040204" pitchFamily="34" charset="0"/>
              </a:rPr>
              <a:t> Implementeer package proces</a:t>
            </a:r>
          </a:p>
        </p:txBody>
      </p:sp>
      <p:sp>
        <p:nvSpPr>
          <p:cNvPr id="55" name="Rectangle 7">
            <a:extLst>
              <a:ext uri="{FF2B5EF4-FFF2-40B4-BE49-F238E27FC236}">
                <a16:creationId xmlns:a16="http://schemas.microsoft.com/office/drawing/2014/main" id="{D1741E27-65B1-4985-A573-4359D8ECADCC}"/>
              </a:ext>
            </a:extLst>
          </p:cNvPr>
          <p:cNvSpPr>
            <a:spLocks/>
          </p:cNvSpPr>
          <p:nvPr/>
        </p:nvSpPr>
        <p:spPr bwMode="auto">
          <a:xfrm>
            <a:off x="1936750" y="1376772"/>
            <a:ext cx="2681985" cy="2671272"/>
          </a:xfrm>
          <a:prstGeom prst="rect">
            <a:avLst/>
          </a:prstGeom>
          <a:solidFill>
            <a:srgbClr val="D5D4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400" b="1" dirty="0">
              <a:solidFill>
                <a:srgbClr val="6B5C4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3114F8-F3CE-4475-A86F-8AD7C2BDD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etup</a:t>
            </a:r>
          </a:p>
        </p:txBody>
      </p:sp>
      <p:grpSp>
        <p:nvGrpSpPr>
          <p:cNvPr id="4" name="Group 66">
            <a:extLst>
              <a:ext uri="{FF2B5EF4-FFF2-40B4-BE49-F238E27FC236}">
                <a16:creationId xmlns:a16="http://schemas.microsoft.com/office/drawing/2014/main" id="{D825E2F5-C9F6-40A1-920A-AE29072C370F}"/>
              </a:ext>
            </a:extLst>
          </p:cNvPr>
          <p:cNvGrpSpPr>
            <a:grpSpLocks/>
          </p:cNvGrpSpPr>
          <p:nvPr/>
        </p:nvGrpSpPr>
        <p:grpSpPr bwMode="auto">
          <a:xfrm>
            <a:off x="5148327" y="2015962"/>
            <a:ext cx="4710988" cy="2977669"/>
            <a:chOff x="1486622" y="1648970"/>
            <a:chExt cx="3739843" cy="1943992"/>
          </a:xfrm>
        </p:grpSpPr>
        <p:sp>
          <p:nvSpPr>
            <p:cNvPr id="35" name="Rectangle 43">
              <a:extLst>
                <a:ext uri="{FF2B5EF4-FFF2-40B4-BE49-F238E27FC236}">
                  <a16:creationId xmlns:a16="http://schemas.microsoft.com/office/drawing/2014/main" id="{E1F86CC9-C59D-4EEB-B5C9-71E6095BB1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1504" y="1648970"/>
              <a:ext cx="934961" cy="1943992"/>
            </a:xfrm>
            <a:prstGeom prst="rect">
              <a:avLst/>
            </a:prstGeom>
            <a:solidFill>
              <a:schemeClr val="bg1"/>
            </a:solidFill>
            <a:ln w="38100" algn="ctr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 wrap="none" lIns="182880" anchor="ctr"/>
            <a:lstStyle>
              <a:lvl1pPr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9pPr>
            </a:lstStyle>
            <a:p>
              <a:endParaRPr lang="nl-NL" sz="1400" b="1">
                <a:latin typeface="+mn-lt"/>
              </a:endParaRPr>
            </a:p>
          </p:txBody>
        </p:sp>
        <p:sp>
          <p:nvSpPr>
            <p:cNvPr id="36" name="Rectangle 44">
              <a:extLst>
                <a:ext uri="{FF2B5EF4-FFF2-40B4-BE49-F238E27FC236}">
                  <a16:creationId xmlns:a16="http://schemas.microsoft.com/office/drawing/2014/main" id="{7F666A3C-F5AD-4A61-BB29-B47BF32AC7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8130" y="1648970"/>
              <a:ext cx="936548" cy="1943992"/>
            </a:xfrm>
            <a:prstGeom prst="rect">
              <a:avLst/>
            </a:prstGeom>
            <a:solidFill>
              <a:schemeClr val="bg1"/>
            </a:solidFill>
            <a:ln w="38100" algn="ctr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 wrap="none" lIns="182880" anchor="ctr"/>
            <a:lstStyle>
              <a:lvl1pPr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9pPr>
            </a:lstStyle>
            <a:p>
              <a:endParaRPr lang="nl-NL" sz="1400" b="1">
                <a:latin typeface="+mn-lt"/>
              </a:endParaRPr>
            </a:p>
          </p:txBody>
        </p:sp>
        <p:sp>
          <p:nvSpPr>
            <p:cNvPr id="37" name="Rectangle 45">
              <a:extLst>
                <a:ext uri="{FF2B5EF4-FFF2-40B4-BE49-F238E27FC236}">
                  <a16:creationId xmlns:a16="http://schemas.microsoft.com/office/drawing/2014/main" id="{791A368A-99DB-429D-A2C9-1B32B58707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1582" y="1648970"/>
              <a:ext cx="936548" cy="1943992"/>
            </a:xfrm>
            <a:prstGeom prst="rect">
              <a:avLst/>
            </a:prstGeom>
            <a:solidFill>
              <a:schemeClr val="bg1"/>
            </a:solidFill>
            <a:ln w="38100" algn="ctr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 wrap="none" lIns="182880" anchor="ctr"/>
            <a:lstStyle>
              <a:lvl1pPr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9pPr>
            </a:lstStyle>
            <a:p>
              <a:endParaRPr lang="nl-NL" sz="1400" b="1">
                <a:latin typeface="+mn-lt"/>
              </a:endParaRPr>
            </a:p>
          </p:txBody>
        </p:sp>
        <p:sp>
          <p:nvSpPr>
            <p:cNvPr id="38" name="Rectangle 46">
              <a:extLst>
                <a:ext uri="{FF2B5EF4-FFF2-40B4-BE49-F238E27FC236}">
                  <a16:creationId xmlns:a16="http://schemas.microsoft.com/office/drawing/2014/main" id="{5090DE7B-98D9-4FBB-A9B8-5AB32B6882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6622" y="1648970"/>
              <a:ext cx="934960" cy="1943992"/>
            </a:xfrm>
            <a:prstGeom prst="rect">
              <a:avLst/>
            </a:prstGeom>
            <a:solidFill>
              <a:schemeClr val="bg1"/>
            </a:solidFill>
            <a:ln w="38100" algn="ctr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 wrap="none" lIns="182880" anchor="ctr"/>
            <a:lstStyle>
              <a:lvl1pPr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9pPr>
            </a:lstStyle>
            <a:p>
              <a:endParaRPr lang="nl-NL" sz="1400" b="1">
                <a:latin typeface="+mn-lt"/>
              </a:endParaRPr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A287DFFB-F831-48A7-B5BD-0CA617E00D00}"/>
              </a:ext>
            </a:extLst>
          </p:cNvPr>
          <p:cNvSpPr/>
          <p:nvPr/>
        </p:nvSpPr>
        <p:spPr>
          <a:xfrm>
            <a:off x="2855315" y="3072256"/>
            <a:ext cx="118173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24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Setup</a:t>
            </a:r>
            <a:endParaRPr lang="nl-NL" sz="2400" b="1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652E9A1-927A-4E2E-8A01-F0CDC1E3B5C3}"/>
              </a:ext>
            </a:extLst>
          </p:cNvPr>
          <p:cNvSpPr/>
          <p:nvPr/>
        </p:nvSpPr>
        <p:spPr>
          <a:xfrm>
            <a:off x="2760642" y="1703591"/>
            <a:ext cx="1059906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9600" b="1" dirty="0">
                <a:solidFill>
                  <a:srgbClr val="6B5C4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6DFAE4B3-3FFD-477C-B29B-AD5D20A01680}"/>
              </a:ext>
            </a:extLst>
          </p:cNvPr>
          <p:cNvGrpSpPr/>
          <p:nvPr/>
        </p:nvGrpSpPr>
        <p:grpSpPr>
          <a:xfrm>
            <a:off x="5159896" y="2636912"/>
            <a:ext cx="4765828" cy="1829124"/>
            <a:chOff x="5472274" y="2780385"/>
            <a:chExt cx="4765828" cy="1829124"/>
          </a:xfrm>
          <a:solidFill>
            <a:srgbClr val="6EBBD4"/>
          </a:solidFill>
        </p:grpSpPr>
        <p:grpSp>
          <p:nvGrpSpPr>
            <p:cNvPr id="14" name="Group 22">
              <a:extLst>
                <a:ext uri="{FF2B5EF4-FFF2-40B4-BE49-F238E27FC236}">
                  <a16:creationId xmlns:a16="http://schemas.microsoft.com/office/drawing/2014/main" id="{20812078-64B3-4CB3-90F8-3A94FD61D426}"/>
                </a:ext>
              </a:extLst>
            </p:cNvPr>
            <p:cNvGrpSpPr/>
            <p:nvPr/>
          </p:nvGrpSpPr>
          <p:grpSpPr bwMode="auto">
            <a:xfrm>
              <a:off x="5472274" y="2780385"/>
              <a:ext cx="1405798" cy="1828581"/>
              <a:chOff x="5661114" y="1792287"/>
              <a:chExt cx="1116000" cy="1104900"/>
            </a:xfrm>
            <a:grp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1" name="Chevron 29">
                <a:extLst>
                  <a:ext uri="{FF2B5EF4-FFF2-40B4-BE49-F238E27FC236}">
                    <a16:creationId xmlns:a16="http://schemas.microsoft.com/office/drawing/2014/main" id="{8783E034-B1EB-4F56-BE70-BB36ED7555F4}"/>
                  </a:ext>
                </a:extLst>
              </p:cNvPr>
              <p:cNvSpPr/>
              <p:nvPr/>
            </p:nvSpPr>
            <p:spPr bwMode="auto">
              <a:xfrm>
                <a:off x="5661114" y="1792287"/>
                <a:ext cx="1116000" cy="1104900"/>
              </a:xfrm>
              <a:prstGeom prst="chevron">
                <a:avLst>
                  <a:gd name="adj" fmla="val 27444"/>
                </a:avLst>
              </a:prstGeom>
              <a:grpFill/>
              <a:ln w="28575" cap="flat" cmpd="sng" algn="ctr">
                <a:solidFill>
                  <a:srgbClr val="0070C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182880" anchor="ctr"/>
              <a:lstStyle/>
              <a:p>
                <a:pPr>
                  <a:defRPr/>
                </a:pPr>
                <a:endParaRPr lang="nl-NL" sz="1400" b="1">
                  <a:latin typeface="+mn-lt"/>
                </a:endParaRPr>
              </a:p>
            </p:txBody>
          </p: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9EBC6801-7803-46C0-A1B7-B24187517DC0}"/>
                  </a:ext>
                </a:extLst>
              </p:cNvPr>
              <p:cNvCxnSpPr/>
              <p:nvPr/>
            </p:nvCxnSpPr>
            <p:spPr bwMode="auto">
              <a:xfrm>
                <a:off x="5952731" y="2344737"/>
                <a:ext cx="812771" cy="0"/>
              </a:xfrm>
              <a:prstGeom prst="line">
                <a:avLst/>
              </a:prstGeom>
              <a:grpFill/>
              <a:ln w="19050" cap="flat" cmpd="sng" algn="ctr">
                <a:solidFill>
                  <a:srgbClr val="6EBBD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28DFEB8D-3701-44FB-A1B3-95B7437FAF47}"/>
                  </a:ext>
                </a:extLst>
              </p:cNvPr>
              <p:cNvCxnSpPr/>
              <p:nvPr/>
            </p:nvCxnSpPr>
            <p:spPr bwMode="auto">
              <a:xfrm>
                <a:off x="5814970" y="2068512"/>
                <a:ext cx="812771" cy="0"/>
              </a:xfrm>
              <a:prstGeom prst="line">
                <a:avLst/>
              </a:prstGeom>
              <a:grpFill/>
              <a:ln w="19050" cap="flat" cmpd="sng" algn="ctr">
                <a:solidFill>
                  <a:srgbClr val="6EBBD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B2685DC-2D34-41F7-878D-7A946A63B485}"/>
                  </a:ext>
                </a:extLst>
              </p:cNvPr>
              <p:cNvCxnSpPr/>
              <p:nvPr/>
            </p:nvCxnSpPr>
            <p:spPr bwMode="auto">
              <a:xfrm>
                <a:off x="5814970" y="2620962"/>
                <a:ext cx="812771" cy="0"/>
              </a:xfrm>
              <a:prstGeom prst="line">
                <a:avLst/>
              </a:prstGeom>
              <a:grpFill/>
              <a:ln w="19050" cap="flat" cmpd="sng" algn="ctr">
                <a:solidFill>
                  <a:srgbClr val="6EBBD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64" name="Chevron 29">
              <a:extLst>
                <a:ext uri="{FF2B5EF4-FFF2-40B4-BE49-F238E27FC236}">
                  <a16:creationId xmlns:a16="http://schemas.microsoft.com/office/drawing/2014/main" id="{F21404FF-CF92-4428-AC3A-BDF83A73ABF2}"/>
                </a:ext>
              </a:extLst>
            </p:cNvPr>
            <p:cNvSpPr/>
            <p:nvPr/>
          </p:nvSpPr>
          <p:spPr bwMode="auto">
            <a:xfrm>
              <a:off x="6600056" y="2780928"/>
              <a:ext cx="1405798" cy="1828581"/>
            </a:xfrm>
            <a:prstGeom prst="chevron">
              <a:avLst>
                <a:gd name="adj" fmla="val 27444"/>
              </a:avLst>
            </a:prstGeom>
            <a:grpFill/>
            <a:ln w="2857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182880" anchor="ctr"/>
            <a:lstStyle/>
            <a:p>
              <a:pPr>
                <a:defRPr/>
              </a:pPr>
              <a:endParaRPr lang="nl-NL" sz="1400" b="1">
                <a:latin typeface="+mn-lt"/>
              </a:endParaRPr>
            </a:p>
          </p:txBody>
        </p: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88F5568A-7FE3-4831-92E9-9EA0A11DA1A5}"/>
                </a:ext>
              </a:extLst>
            </p:cNvPr>
            <p:cNvCxnSpPr/>
            <p:nvPr/>
          </p:nvCxnSpPr>
          <p:spPr bwMode="auto">
            <a:xfrm>
              <a:off x="6967399" y="3695219"/>
              <a:ext cx="1023828" cy="0"/>
            </a:xfrm>
            <a:prstGeom prst="line">
              <a:avLst/>
            </a:prstGeom>
            <a:grpFill/>
            <a:ln w="19050" cap="flat" cmpd="sng" algn="ctr">
              <a:solidFill>
                <a:srgbClr val="6EBBD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587C009-35AB-4D28-BA1B-8F4BD800B247}"/>
                </a:ext>
              </a:extLst>
            </p:cNvPr>
            <p:cNvCxnSpPr/>
            <p:nvPr/>
          </p:nvCxnSpPr>
          <p:spPr bwMode="auto">
            <a:xfrm>
              <a:off x="6793865" y="3238073"/>
              <a:ext cx="1023828" cy="0"/>
            </a:xfrm>
            <a:prstGeom prst="line">
              <a:avLst/>
            </a:prstGeom>
            <a:grpFill/>
            <a:ln w="19050" cap="flat" cmpd="sng" algn="ctr">
              <a:solidFill>
                <a:srgbClr val="6EBBD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4E0B49E-4058-4746-A496-9E4DF65E995E}"/>
                </a:ext>
              </a:extLst>
            </p:cNvPr>
            <p:cNvCxnSpPr/>
            <p:nvPr/>
          </p:nvCxnSpPr>
          <p:spPr bwMode="auto">
            <a:xfrm>
              <a:off x="6793865" y="4152364"/>
              <a:ext cx="1023828" cy="0"/>
            </a:xfrm>
            <a:prstGeom prst="line">
              <a:avLst/>
            </a:prstGeom>
            <a:grpFill/>
            <a:ln w="19050" cap="flat" cmpd="sng" algn="ctr">
              <a:solidFill>
                <a:srgbClr val="6EBBD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8" name="Chevron 29">
              <a:extLst>
                <a:ext uri="{FF2B5EF4-FFF2-40B4-BE49-F238E27FC236}">
                  <a16:creationId xmlns:a16="http://schemas.microsoft.com/office/drawing/2014/main" id="{692AEF9E-0C99-4C4A-A27A-D2AD692DC03D}"/>
                </a:ext>
              </a:extLst>
            </p:cNvPr>
            <p:cNvSpPr/>
            <p:nvPr/>
          </p:nvSpPr>
          <p:spPr bwMode="auto">
            <a:xfrm>
              <a:off x="7714538" y="2780928"/>
              <a:ext cx="1405798" cy="1828581"/>
            </a:xfrm>
            <a:prstGeom prst="chevron">
              <a:avLst>
                <a:gd name="adj" fmla="val 27444"/>
              </a:avLst>
            </a:prstGeom>
            <a:grpFill/>
            <a:ln w="2857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182880" anchor="ctr"/>
            <a:lstStyle/>
            <a:p>
              <a:pPr>
                <a:defRPr/>
              </a:pPr>
              <a:endParaRPr lang="nl-NL" sz="1400" b="1">
                <a:latin typeface="+mn-lt"/>
              </a:endParaRPr>
            </a:p>
          </p:txBody>
        </p: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EB7BB44A-AC19-4631-B6D3-1AF1B69FB6EC}"/>
                </a:ext>
              </a:extLst>
            </p:cNvPr>
            <p:cNvCxnSpPr/>
            <p:nvPr/>
          </p:nvCxnSpPr>
          <p:spPr bwMode="auto">
            <a:xfrm>
              <a:off x="8081881" y="3695219"/>
              <a:ext cx="1023828" cy="0"/>
            </a:xfrm>
            <a:prstGeom prst="line">
              <a:avLst/>
            </a:prstGeom>
            <a:grpFill/>
            <a:ln w="19050" cap="flat" cmpd="sng" algn="ctr">
              <a:solidFill>
                <a:srgbClr val="6EBBD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53E77660-6F0F-4E03-96D4-CC2BFBE7D52E}"/>
                </a:ext>
              </a:extLst>
            </p:cNvPr>
            <p:cNvCxnSpPr/>
            <p:nvPr/>
          </p:nvCxnSpPr>
          <p:spPr bwMode="auto">
            <a:xfrm>
              <a:off x="7908347" y="3238073"/>
              <a:ext cx="1023828" cy="0"/>
            </a:xfrm>
            <a:prstGeom prst="line">
              <a:avLst/>
            </a:prstGeom>
            <a:grpFill/>
            <a:ln w="19050" cap="flat" cmpd="sng" algn="ctr">
              <a:solidFill>
                <a:srgbClr val="6EBBD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B6391A12-CB20-4265-8340-9CB36CC5A121}"/>
                </a:ext>
              </a:extLst>
            </p:cNvPr>
            <p:cNvCxnSpPr/>
            <p:nvPr/>
          </p:nvCxnSpPr>
          <p:spPr bwMode="auto">
            <a:xfrm>
              <a:off x="7908347" y="4152364"/>
              <a:ext cx="1023828" cy="0"/>
            </a:xfrm>
            <a:prstGeom prst="line">
              <a:avLst/>
            </a:prstGeom>
            <a:grpFill/>
            <a:ln w="19050" cap="flat" cmpd="sng" algn="ctr">
              <a:solidFill>
                <a:srgbClr val="6EBBD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2" name="Chevron 29">
              <a:extLst>
                <a:ext uri="{FF2B5EF4-FFF2-40B4-BE49-F238E27FC236}">
                  <a16:creationId xmlns:a16="http://schemas.microsoft.com/office/drawing/2014/main" id="{5ABC8646-60CE-4DA7-A736-F692C964A014}"/>
                </a:ext>
              </a:extLst>
            </p:cNvPr>
            <p:cNvSpPr/>
            <p:nvPr/>
          </p:nvSpPr>
          <p:spPr bwMode="auto">
            <a:xfrm>
              <a:off x="8832304" y="2780928"/>
              <a:ext cx="1405798" cy="1828581"/>
            </a:xfrm>
            <a:prstGeom prst="chevron">
              <a:avLst>
                <a:gd name="adj" fmla="val 27444"/>
              </a:avLst>
            </a:prstGeom>
            <a:grpFill/>
            <a:ln w="2857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182880" anchor="ctr"/>
            <a:lstStyle/>
            <a:p>
              <a:pPr>
                <a:defRPr/>
              </a:pPr>
              <a:endParaRPr lang="nl-NL" sz="1400" b="1">
                <a:latin typeface="+mn-lt"/>
              </a:endParaRPr>
            </a:p>
          </p:txBody>
        </p: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C99AED47-1EDC-49F8-B9AF-12746F73F30A}"/>
                </a:ext>
              </a:extLst>
            </p:cNvPr>
            <p:cNvCxnSpPr/>
            <p:nvPr/>
          </p:nvCxnSpPr>
          <p:spPr bwMode="auto">
            <a:xfrm>
              <a:off x="9199647" y="3695219"/>
              <a:ext cx="1023828" cy="0"/>
            </a:xfrm>
            <a:prstGeom prst="line">
              <a:avLst/>
            </a:prstGeom>
            <a:grpFill/>
            <a:ln w="19050" cap="flat" cmpd="sng" algn="ctr">
              <a:solidFill>
                <a:srgbClr val="6EBBD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AB85ACA3-8CDA-4CD9-8869-0809D4BB8C51}"/>
                </a:ext>
              </a:extLst>
            </p:cNvPr>
            <p:cNvCxnSpPr/>
            <p:nvPr/>
          </p:nvCxnSpPr>
          <p:spPr bwMode="auto">
            <a:xfrm>
              <a:off x="9026113" y="3238073"/>
              <a:ext cx="1023828" cy="0"/>
            </a:xfrm>
            <a:prstGeom prst="line">
              <a:avLst/>
            </a:prstGeom>
            <a:grpFill/>
            <a:ln w="19050" cap="flat" cmpd="sng" algn="ctr">
              <a:solidFill>
                <a:srgbClr val="6EBBD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9A0A6A59-FC47-41EF-89B1-79C773A4EF61}"/>
                </a:ext>
              </a:extLst>
            </p:cNvPr>
            <p:cNvCxnSpPr/>
            <p:nvPr/>
          </p:nvCxnSpPr>
          <p:spPr bwMode="auto">
            <a:xfrm>
              <a:off x="9026113" y="4152364"/>
              <a:ext cx="1023828" cy="0"/>
            </a:xfrm>
            <a:prstGeom prst="line">
              <a:avLst/>
            </a:prstGeom>
            <a:grpFill/>
            <a:ln w="19050" cap="flat" cmpd="sng" algn="ctr">
              <a:solidFill>
                <a:srgbClr val="6EBBD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0" name="Speech Bubble: Rectangle 89">
            <a:extLst>
              <a:ext uri="{FF2B5EF4-FFF2-40B4-BE49-F238E27FC236}">
                <a16:creationId xmlns:a16="http://schemas.microsoft.com/office/drawing/2014/main" id="{40E6BA8D-886C-4443-AA94-E7C124FBAEB4}"/>
              </a:ext>
            </a:extLst>
          </p:cNvPr>
          <p:cNvSpPr/>
          <p:nvPr/>
        </p:nvSpPr>
        <p:spPr>
          <a:xfrm>
            <a:off x="4945660" y="358751"/>
            <a:ext cx="2329322" cy="1272062"/>
          </a:xfrm>
          <a:prstGeom prst="wedgeRectCallout">
            <a:avLst>
              <a:gd name="adj1" fmla="val -15626"/>
              <a:gd name="adj2" fmla="val 107244"/>
            </a:avLst>
          </a:prstGeom>
          <a:solidFill>
            <a:schemeClr val="bg1">
              <a:lumMod val="95000"/>
            </a:schemeClr>
          </a:solidFill>
          <a:ln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Resource project obv applicatie lijst</a:t>
            </a:r>
          </a:p>
        </p:txBody>
      </p:sp>
      <p:sp>
        <p:nvSpPr>
          <p:cNvPr id="91" name="Speech Bubble: Rectangle 90">
            <a:extLst>
              <a:ext uri="{FF2B5EF4-FFF2-40B4-BE49-F238E27FC236}">
                <a16:creationId xmlns:a16="http://schemas.microsoft.com/office/drawing/2014/main" id="{046CF009-E6E5-400E-A12E-F53EC120F1CE}"/>
              </a:ext>
            </a:extLst>
          </p:cNvPr>
          <p:cNvSpPr/>
          <p:nvPr/>
        </p:nvSpPr>
        <p:spPr>
          <a:xfrm>
            <a:off x="6070934" y="356738"/>
            <a:ext cx="2329322" cy="1272062"/>
          </a:xfrm>
          <a:prstGeom prst="wedgeRectCallout">
            <a:avLst>
              <a:gd name="adj1" fmla="val -15626"/>
              <a:gd name="adj2" fmla="val 107244"/>
            </a:avLst>
          </a:prstGeom>
          <a:solidFill>
            <a:schemeClr val="bg1">
              <a:lumMod val="95000"/>
            </a:schemeClr>
          </a:solidFill>
          <a:ln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Afstemmen packaging guidelines &amp; deployment</a:t>
            </a:r>
          </a:p>
        </p:txBody>
      </p:sp>
      <p:sp>
        <p:nvSpPr>
          <p:cNvPr id="92" name="Speech Bubble: Rectangle 91">
            <a:extLst>
              <a:ext uri="{FF2B5EF4-FFF2-40B4-BE49-F238E27FC236}">
                <a16:creationId xmlns:a16="http://schemas.microsoft.com/office/drawing/2014/main" id="{F2B7D6C4-A1AA-4064-A50E-EF8FA14A9605}"/>
              </a:ext>
            </a:extLst>
          </p:cNvPr>
          <p:cNvSpPr/>
          <p:nvPr/>
        </p:nvSpPr>
        <p:spPr>
          <a:xfrm>
            <a:off x="7151054" y="356738"/>
            <a:ext cx="2329322" cy="1272062"/>
          </a:xfrm>
          <a:prstGeom prst="wedgeRectCallout">
            <a:avLst>
              <a:gd name="adj1" fmla="val -15626"/>
              <a:gd name="adj2" fmla="val 107244"/>
            </a:avLst>
          </a:prstGeom>
          <a:solidFill>
            <a:schemeClr val="bg1">
              <a:lumMod val="95000"/>
            </a:schemeClr>
          </a:solidFill>
          <a:ln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Afstemmen planning</a:t>
            </a:r>
          </a:p>
        </p:txBody>
      </p:sp>
      <p:sp>
        <p:nvSpPr>
          <p:cNvPr id="93" name="Speech Bubble: Rectangle 92">
            <a:extLst>
              <a:ext uri="{FF2B5EF4-FFF2-40B4-BE49-F238E27FC236}">
                <a16:creationId xmlns:a16="http://schemas.microsoft.com/office/drawing/2014/main" id="{321D7E0A-6F0A-4E42-A9E8-D3FA787198D2}"/>
              </a:ext>
            </a:extLst>
          </p:cNvPr>
          <p:cNvSpPr/>
          <p:nvPr/>
        </p:nvSpPr>
        <p:spPr>
          <a:xfrm>
            <a:off x="8303182" y="356738"/>
            <a:ext cx="2329322" cy="1272062"/>
          </a:xfrm>
          <a:prstGeom prst="wedgeRectCallout">
            <a:avLst>
              <a:gd name="adj1" fmla="val -15626"/>
              <a:gd name="adj2" fmla="val 107244"/>
            </a:avLst>
          </a:prstGeom>
          <a:solidFill>
            <a:schemeClr val="bg1">
              <a:lumMod val="95000"/>
            </a:schemeClr>
          </a:solidFill>
          <a:ln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Proces afspraken</a:t>
            </a:r>
          </a:p>
        </p:txBody>
      </p:sp>
    </p:spTree>
    <p:extLst>
      <p:ext uri="{BB962C8B-B14F-4D97-AF65-F5344CB8AC3E}">
        <p14:creationId xmlns:p14="http://schemas.microsoft.com/office/powerpoint/2010/main" val="2524065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90" grpId="1" animBg="1"/>
      <p:bldP spid="91" grpId="0" animBg="1"/>
      <p:bldP spid="91" grpId="1" animBg="1"/>
      <p:bldP spid="92" grpId="0" animBg="1"/>
      <p:bldP spid="92" grpId="1" animBg="1"/>
      <p:bldP spid="9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Group 64">
            <a:extLst>
              <a:ext uri="{FF2B5EF4-FFF2-40B4-BE49-F238E27FC236}">
                <a16:creationId xmlns:a16="http://schemas.microsoft.com/office/drawing/2014/main" id="{1B24364C-B19E-452E-B96A-DED31BA80F08}"/>
              </a:ext>
            </a:extLst>
          </p:cNvPr>
          <p:cNvGrpSpPr/>
          <p:nvPr/>
        </p:nvGrpSpPr>
        <p:grpSpPr>
          <a:xfrm>
            <a:off x="4742221" y="1376772"/>
            <a:ext cx="5490854" cy="4065408"/>
            <a:chOff x="3218221" y="1376772"/>
            <a:chExt cx="5490854" cy="4065408"/>
          </a:xfrm>
          <a:solidFill>
            <a:schemeClr val="bg1"/>
          </a:solidFill>
        </p:grpSpPr>
        <p:sp>
          <p:nvSpPr>
            <p:cNvPr id="66" name="Rectangle 9">
              <a:extLst>
                <a:ext uri="{FF2B5EF4-FFF2-40B4-BE49-F238E27FC236}">
                  <a16:creationId xmlns:a16="http://schemas.microsoft.com/office/drawing/2014/main" id="{61E57876-F27A-418D-9577-62750B42F6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1718" y="4162224"/>
              <a:ext cx="1278545" cy="1278545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67" name="Rectangle 10">
              <a:extLst>
                <a:ext uri="{FF2B5EF4-FFF2-40B4-BE49-F238E27FC236}">
                  <a16:creationId xmlns:a16="http://schemas.microsoft.com/office/drawing/2014/main" id="{609A1C50-EF6A-4F8C-9DFF-1777B3300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0400" y="4162224"/>
              <a:ext cx="1264450" cy="1279956"/>
            </a:xfrm>
            <a:prstGeom prst="rect">
              <a:avLst/>
            </a:prstGeom>
            <a:no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dirty="0">
                <a:solidFill>
                  <a:srgbClr val="6B5C4F"/>
                </a:solidFill>
              </a:endParaRPr>
            </a:p>
          </p:txBody>
        </p:sp>
        <p:sp>
          <p:nvSpPr>
            <p:cNvPr id="68" name="Rectangle 8">
              <a:extLst>
                <a:ext uri="{FF2B5EF4-FFF2-40B4-BE49-F238E27FC236}">
                  <a16:creationId xmlns:a16="http://schemas.microsoft.com/office/drawing/2014/main" id="{0748605F-B39A-4FAF-92C1-B4FE02CB0D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8785" y="2769498"/>
              <a:ext cx="1279955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69" name="Rectangle 9">
              <a:extLst>
                <a:ext uri="{FF2B5EF4-FFF2-40B4-BE49-F238E27FC236}">
                  <a16:creationId xmlns:a16="http://schemas.microsoft.com/office/drawing/2014/main" id="{A2A4EFDB-6E58-41A4-91F3-6B1B6BD572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8221" y="1376772"/>
              <a:ext cx="1285311" cy="1278546"/>
            </a:xfrm>
            <a:prstGeom prst="rect">
              <a:avLst/>
            </a:prstGeom>
            <a:no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70" name="Rectangle 9">
              <a:extLst>
                <a:ext uri="{FF2B5EF4-FFF2-40B4-BE49-F238E27FC236}">
                  <a16:creationId xmlns:a16="http://schemas.microsoft.com/office/drawing/2014/main" id="{32AB5784-3769-4837-8081-D833C987D8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5101" y="1376772"/>
              <a:ext cx="1275162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71" name="Rectangle 9">
              <a:extLst>
                <a:ext uri="{FF2B5EF4-FFF2-40B4-BE49-F238E27FC236}">
                  <a16:creationId xmlns:a16="http://schemas.microsoft.com/office/drawing/2014/main" id="{4A564101-0640-4CC5-B259-35EA0946A7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4820" y="2769498"/>
              <a:ext cx="1278545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2" name="Rectangle 10">
              <a:extLst>
                <a:ext uri="{FF2B5EF4-FFF2-40B4-BE49-F238E27FC236}">
                  <a16:creationId xmlns:a16="http://schemas.microsoft.com/office/drawing/2014/main" id="{5743E231-E574-406A-BDCA-D9B3C3433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2507" y="2769498"/>
              <a:ext cx="1278546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73" name="Rectangle 9">
              <a:extLst>
                <a:ext uri="{FF2B5EF4-FFF2-40B4-BE49-F238E27FC236}">
                  <a16:creationId xmlns:a16="http://schemas.microsoft.com/office/drawing/2014/main" id="{AF0432EA-65AE-4776-A788-76F14010CB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3577" y="4162224"/>
              <a:ext cx="1279955" cy="1278545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74" name="Rectangle 9">
              <a:extLst>
                <a:ext uri="{FF2B5EF4-FFF2-40B4-BE49-F238E27FC236}">
                  <a16:creationId xmlns:a16="http://schemas.microsoft.com/office/drawing/2014/main" id="{87A2FE62-DB0A-4384-AF79-734CFF78D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7132" y="4162224"/>
              <a:ext cx="1278545" cy="1278545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dirty="0">
                <a:solidFill>
                  <a:srgbClr val="6B5C4F"/>
                </a:solidFill>
              </a:endParaRPr>
            </a:p>
          </p:txBody>
        </p:sp>
        <p:sp>
          <p:nvSpPr>
            <p:cNvPr id="75" name="Rectangle 9">
              <a:extLst>
                <a:ext uri="{FF2B5EF4-FFF2-40B4-BE49-F238E27FC236}">
                  <a16:creationId xmlns:a16="http://schemas.microsoft.com/office/drawing/2014/main" id="{D131794C-3C7C-43A4-9A2A-6290C02D6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7132" y="2769498"/>
              <a:ext cx="1278545" cy="1278546"/>
            </a:xfrm>
            <a:prstGeom prst="rect">
              <a:avLst/>
            </a:prstGeom>
            <a:no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/>
              <a:endParaRPr 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6" name="Rectangle 10">
              <a:extLst>
                <a:ext uri="{FF2B5EF4-FFF2-40B4-BE49-F238E27FC236}">
                  <a16:creationId xmlns:a16="http://schemas.microsoft.com/office/drawing/2014/main" id="{AF16F317-A3E0-4DEA-BA75-5FFA51DBCF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303" y="1376772"/>
              <a:ext cx="1278546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77" name="Rectangle 9">
              <a:extLst>
                <a:ext uri="{FF2B5EF4-FFF2-40B4-BE49-F238E27FC236}">
                  <a16:creationId xmlns:a16="http://schemas.microsoft.com/office/drawing/2014/main" id="{A18CCD50-A6ED-4883-9CE0-362D9F651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3913" y="1376772"/>
              <a:ext cx="1275162" cy="127854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35" name="Rectangle 7">
            <a:extLst>
              <a:ext uri="{FF2B5EF4-FFF2-40B4-BE49-F238E27FC236}">
                <a16:creationId xmlns:a16="http://schemas.microsoft.com/office/drawing/2014/main" id="{1DFE08AC-B415-40D8-B40D-BFF2D1D035ED}"/>
              </a:ext>
            </a:extLst>
          </p:cNvPr>
          <p:cNvSpPr>
            <a:spLocks/>
          </p:cNvSpPr>
          <p:nvPr/>
        </p:nvSpPr>
        <p:spPr bwMode="auto">
          <a:xfrm>
            <a:off x="1936750" y="4162224"/>
            <a:ext cx="2681984" cy="1279956"/>
          </a:xfrm>
          <a:prstGeom prst="rect">
            <a:avLst/>
          </a:prstGeom>
          <a:solidFill>
            <a:srgbClr val="6B5C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buClr>
                <a:srgbClr val="DE3819"/>
              </a:buClr>
            </a:pPr>
            <a:r>
              <a:rPr lang="nl-NL" sz="2000" b="1" dirty="0">
                <a:solidFill>
                  <a:schemeClr val="bg1"/>
                </a:solidFill>
                <a:latin typeface="Verdana" panose="020B0604030504040204" pitchFamily="34" charset="0"/>
              </a:rPr>
              <a:t> Fabrieksmatig packagen</a:t>
            </a:r>
          </a:p>
        </p:txBody>
      </p:sp>
      <p:sp>
        <p:nvSpPr>
          <p:cNvPr id="36" name="Rectangle 7">
            <a:extLst>
              <a:ext uri="{FF2B5EF4-FFF2-40B4-BE49-F238E27FC236}">
                <a16:creationId xmlns:a16="http://schemas.microsoft.com/office/drawing/2014/main" id="{51F52F5F-F5FF-4D27-9926-182C5F9B40A7}"/>
              </a:ext>
            </a:extLst>
          </p:cNvPr>
          <p:cNvSpPr>
            <a:spLocks/>
          </p:cNvSpPr>
          <p:nvPr/>
        </p:nvSpPr>
        <p:spPr bwMode="auto">
          <a:xfrm>
            <a:off x="1936750" y="1376772"/>
            <a:ext cx="2681985" cy="2671272"/>
          </a:xfrm>
          <a:prstGeom prst="rect">
            <a:avLst/>
          </a:prstGeom>
          <a:solidFill>
            <a:srgbClr val="D5D4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400" b="1" dirty="0">
              <a:solidFill>
                <a:srgbClr val="6B5C4F"/>
              </a:solidFill>
            </a:endParaRPr>
          </a:p>
        </p:txBody>
      </p:sp>
      <p:sp>
        <p:nvSpPr>
          <p:cNvPr id="2457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ackaging</a:t>
            </a:r>
            <a:endParaRPr lang="nl-NL" b="0" dirty="0">
              <a:solidFill>
                <a:srgbClr val="DE3819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439E7DF-28DF-4E25-8EB2-4C8C52AC98AF}"/>
              </a:ext>
            </a:extLst>
          </p:cNvPr>
          <p:cNvSpPr/>
          <p:nvPr/>
        </p:nvSpPr>
        <p:spPr>
          <a:xfrm>
            <a:off x="2855315" y="3072256"/>
            <a:ext cx="86433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24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Run</a:t>
            </a:r>
            <a:endParaRPr lang="nl-NL" sz="2400" b="1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24DB6D7-0771-4D59-93CA-1EF508D8EB87}"/>
              </a:ext>
            </a:extLst>
          </p:cNvPr>
          <p:cNvSpPr/>
          <p:nvPr/>
        </p:nvSpPr>
        <p:spPr>
          <a:xfrm>
            <a:off x="2760642" y="1703591"/>
            <a:ext cx="1059906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9600" b="1" dirty="0">
                <a:solidFill>
                  <a:srgbClr val="6B5C4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3</a:t>
            </a:r>
            <a:endParaRPr lang="nl-NL" sz="9600" b="1" dirty="0">
              <a:solidFill>
                <a:srgbClr val="6B5C4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6F22DF57-B37F-4AC2-8893-989837367C60}"/>
              </a:ext>
            </a:extLst>
          </p:cNvPr>
          <p:cNvGrpSpPr/>
          <p:nvPr/>
        </p:nvGrpSpPr>
        <p:grpSpPr>
          <a:xfrm>
            <a:off x="5015908" y="-1827584"/>
            <a:ext cx="6624708" cy="7128792"/>
            <a:chOff x="1285421" y="-1445849"/>
            <a:chExt cx="6624708" cy="7128792"/>
          </a:xfrm>
          <a:effectLst/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7BEB7D0-BCCC-4582-890F-C78FB138E7C0}"/>
                </a:ext>
              </a:extLst>
            </p:cNvPr>
            <p:cNvGrpSpPr/>
            <p:nvPr/>
          </p:nvGrpSpPr>
          <p:grpSpPr>
            <a:xfrm>
              <a:off x="2763589" y="-1445849"/>
              <a:ext cx="3634400" cy="7128792"/>
              <a:chOff x="2881819" y="-1139792"/>
              <a:chExt cx="3372641" cy="6085078"/>
            </a:xfrm>
            <a:gradFill>
              <a:gsLst>
                <a:gs pos="53000">
                  <a:schemeClr val="bg1"/>
                </a:gs>
                <a:gs pos="100000">
                  <a:srgbClr val="DE3819"/>
                </a:gs>
              </a:gsLst>
              <a:lin ang="5400000" scaled="1"/>
            </a:gradFill>
          </p:grpSpPr>
          <p:sp>
            <p:nvSpPr>
              <p:cNvPr id="63" name="Arc 77">
                <a:extLst>
                  <a:ext uri="{FF2B5EF4-FFF2-40B4-BE49-F238E27FC236}">
                    <a16:creationId xmlns:a16="http://schemas.microsoft.com/office/drawing/2014/main" id="{06377C93-0286-4BAF-B845-788BB77780C3}"/>
                  </a:ext>
                </a:extLst>
              </p:cNvPr>
              <p:cNvSpPr/>
              <p:nvPr/>
            </p:nvSpPr>
            <p:spPr bwMode="auto">
              <a:xfrm rot="16140000" flipH="1">
                <a:off x="1515764" y="226264"/>
                <a:ext cx="6085077" cy="3352967"/>
              </a:xfrm>
              <a:prstGeom prst="arc">
                <a:avLst>
                  <a:gd name="adj1" fmla="val 16200000"/>
                  <a:gd name="adj2" fmla="val 21559370"/>
                </a:avLst>
              </a:prstGeom>
              <a:noFill/>
              <a:ln w="76200" cap="flat" cmpd="sng" algn="ctr">
                <a:gradFill>
                  <a:gsLst>
                    <a:gs pos="27251">
                      <a:srgbClr val="005A82"/>
                    </a:gs>
                    <a:gs pos="16125">
                      <a:srgbClr val="A7564F"/>
                    </a:gs>
                    <a:gs pos="15250">
                      <a:srgbClr val="6F7485"/>
                    </a:gs>
                    <a:gs pos="13500">
                      <a:srgbClr val="00B0F0"/>
                    </a:gs>
                    <a:gs pos="10000">
                      <a:srgbClr val="6B5C4F"/>
                    </a:gs>
                    <a:gs pos="17000">
                      <a:srgbClr val="005A82"/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182880" anchor="ctr"/>
              <a:lstStyle/>
              <a:p>
                <a:pPr>
                  <a:defRPr/>
                </a:pPr>
                <a:endParaRPr lang="nl-NL" dirty="0">
                  <a:ln>
                    <a:solidFill>
                      <a:srgbClr val="000000"/>
                    </a:solidFill>
                  </a:ln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77">
                <a:extLst>
                  <a:ext uri="{FF2B5EF4-FFF2-40B4-BE49-F238E27FC236}">
                    <a16:creationId xmlns:a16="http://schemas.microsoft.com/office/drawing/2014/main" id="{B4D1AA6E-B1CD-4260-94B1-A49629F0C504}"/>
                  </a:ext>
                </a:extLst>
              </p:cNvPr>
              <p:cNvSpPr/>
              <p:nvPr/>
            </p:nvSpPr>
            <p:spPr bwMode="auto">
              <a:xfrm rot="5460000">
                <a:off x="1535438" y="226263"/>
                <a:ext cx="6085077" cy="3352967"/>
              </a:xfrm>
              <a:prstGeom prst="arc">
                <a:avLst>
                  <a:gd name="adj1" fmla="val 16200000"/>
                  <a:gd name="adj2" fmla="val 21559370"/>
                </a:avLst>
              </a:prstGeom>
              <a:noFill/>
              <a:ln w="76200" cap="flat" cmpd="sng" algn="ctr">
                <a:gradFill>
                  <a:gsLst>
                    <a:gs pos="10000">
                      <a:srgbClr val="6B5C4F"/>
                    </a:gs>
                    <a:gs pos="17000">
                      <a:srgbClr val="005A82"/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182880" anchor="ctr"/>
              <a:lstStyle/>
              <a:p>
                <a:pPr>
                  <a:defRPr/>
                </a:pPr>
                <a:endParaRPr lang="nl-NL" dirty="0">
                  <a:ln>
                    <a:solidFill>
                      <a:srgbClr val="000000"/>
                    </a:solidFill>
                  </a:ln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42" name="Straight Connector 7">
              <a:extLst>
                <a:ext uri="{FF2B5EF4-FFF2-40B4-BE49-F238E27FC236}">
                  <a16:creationId xmlns:a16="http://schemas.microsoft.com/office/drawing/2014/main" id="{9C0B0A2F-0631-4EF6-BF08-399A633CB905}"/>
                </a:ext>
              </a:extLst>
            </p:cNvPr>
            <p:cNvCxnSpPr>
              <a:cxnSpLocks noChangeShapeType="1"/>
              <a:stCxn id="57" idx="6"/>
              <a:endCxn id="61" idx="2"/>
            </p:cNvCxnSpPr>
            <p:nvPr/>
          </p:nvCxnSpPr>
          <p:spPr bwMode="auto">
            <a:xfrm>
              <a:off x="3310973" y="3988471"/>
              <a:ext cx="2531901" cy="0"/>
            </a:xfrm>
            <a:prstGeom prst="line">
              <a:avLst/>
            </a:prstGeom>
            <a:noFill/>
            <a:ln w="76200" algn="ctr">
              <a:solidFill>
                <a:srgbClr val="005A8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" name="Afgeronde rechthoek 3">
              <a:extLst>
                <a:ext uri="{FF2B5EF4-FFF2-40B4-BE49-F238E27FC236}">
                  <a16:creationId xmlns:a16="http://schemas.microsoft.com/office/drawing/2014/main" id="{59FF62B2-D74B-43FB-BC62-C6450BF323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5630" y="4364053"/>
              <a:ext cx="2231704" cy="251972"/>
            </a:xfrm>
            <a:prstGeom prst="roundRect">
              <a:avLst>
                <a:gd name="adj" fmla="val 0"/>
              </a:avLst>
            </a:prstGeom>
            <a:noFill/>
            <a:ln w="12700">
              <a:noFill/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91436" tIns="45718" rIns="91436" bIns="45718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400" kern="0" dirty="0">
                  <a:solidFill>
                    <a:srgbClr val="005A82"/>
                  </a:solidFill>
                  <a:latin typeface="Verdana"/>
                </a:rPr>
                <a:t>Verantwoordelijkheid</a:t>
              </a:r>
              <a:endParaRPr lang="nl-NL" sz="1400" kern="0" dirty="0">
                <a:solidFill>
                  <a:srgbClr val="005A82"/>
                </a:solidFill>
                <a:latin typeface="Verdana"/>
                <a:cs typeface="+mn-cs"/>
              </a:endParaRPr>
            </a:p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400" b="1" kern="0" dirty="0">
                  <a:solidFill>
                    <a:srgbClr val="005A82"/>
                  </a:solidFill>
                  <a:latin typeface="Verdana"/>
                  <a:cs typeface="+mn-cs"/>
                </a:rPr>
                <a:t>Sogeti</a:t>
              </a:r>
            </a:p>
          </p:txBody>
        </p:sp>
        <p:sp>
          <p:nvSpPr>
            <p:cNvPr id="44" name="Afgeronde rechthoek 3">
              <a:extLst>
                <a:ext uri="{FF2B5EF4-FFF2-40B4-BE49-F238E27FC236}">
                  <a16:creationId xmlns:a16="http://schemas.microsoft.com/office/drawing/2014/main" id="{83EA96B7-1FA2-4261-855B-7BD3E9BD6F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5630" y="3292753"/>
              <a:ext cx="2231704" cy="251972"/>
            </a:xfrm>
            <a:prstGeom prst="roundRect">
              <a:avLst>
                <a:gd name="adj" fmla="val 0"/>
              </a:avLst>
            </a:prstGeom>
            <a:noFill/>
            <a:ln w="12700">
              <a:noFill/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91436" tIns="45718" rIns="91436" bIns="45718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400" b="1" kern="0" dirty="0">
                  <a:solidFill>
                    <a:srgbClr val="6B5C4F"/>
                  </a:solidFill>
                  <a:latin typeface="Verdana"/>
                  <a:cs typeface="+mn-cs"/>
                </a:rPr>
                <a:t>Business</a:t>
              </a:r>
              <a:r>
                <a:rPr lang="nl-NL" sz="1400" kern="0" dirty="0">
                  <a:solidFill>
                    <a:srgbClr val="6B5C4F"/>
                  </a:solidFill>
                  <a:latin typeface="Verdana"/>
                  <a:cs typeface="+mn-cs"/>
                </a:rPr>
                <a:t> focus</a:t>
              </a:r>
              <a:endParaRPr lang="nl-NL" sz="1400" b="1" kern="0" dirty="0">
                <a:solidFill>
                  <a:srgbClr val="6B5C4F"/>
                </a:solidFill>
                <a:latin typeface="Verdana"/>
                <a:cs typeface="+mn-cs"/>
              </a:endParaRPr>
            </a:p>
          </p:txBody>
        </p:sp>
        <p:sp>
          <p:nvSpPr>
            <p:cNvPr id="45" name="Rechthoek 51">
              <a:extLst>
                <a:ext uri="{FF2B5EF4-FFF2-40B4-BE49-F238E27FC236}">
                  <a16:creationId xmlns:a16="http://schemas.microsoft.com/office/drawing/2014/main" id="{73229536-33DE-4B19-8645-343DEEFBB2CE}"/>
                </a:ext>
              </a:extLst>
            </p:cNvPr>
            <p:cNvSpPr/>
            <p:nvPr/>
          </p:nvSpPr>
          <p:spPr bwMode="auto">
            <a:xfrm>
              <a:off x="1537449" y="3742842"/>
              <a:ext cx="1512000" cy="504000"/>
            </a:xfrm>
            <a:prstGeom prst="rect">
              <a:avLst/>
            </a:prstGeom>
            <a:solidFill>
              <a:srgbClr val="005A82"/>
            </a:solidFill>
            <a:ln w="12700">
              <a:solidFill>
                <a:srgbClr val="005A82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91436" tIns="45718" rIns="216000" bIns="45718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b="1" kern="0" dirty="0">
                  <a:solidFill>
                    <a:schemeClr val="bg1"/>
                  </a:solidFill>
                  <a:latin typeface="+mn-lt"/>
                  <a:cs typeface="+mn-cs"/>
                </a:rPr>
                <a:t>Intake</a:t>
              </a:r>
            </a:p>
          </p:txBody>
        </p:sp>
        <p:sp>
          <p:nvSpPr>
            <p:cNvPr id="46" name="Rechthoek 51">
              <a:extLst>
                <a:ext uri="{FF2B5EF4-FFF2-40B4-BE49-F238E27FC236}">
                  <a16:creationId xmlns:a16="http://schemas.microsoft.com/office/drawing/2014/main" id="{E35F4DC6-A4C1-4EED-B8A6-F553B77BA8E3}"/>
                </a:ext>
              </a:extLst>
            </p:cNvPr>
            <p:cNvSpPr/>
            <p:nvPr/>
          </p:nvSpPr>
          <p:spPr bwMode="auto">
            <a:xfrm>
              <a:off x="2176769" y="4856355"/>
              <a:ext cx="1512000" cy="504000"/>
            </a:xfrm>
            <a:prstGeom prst="rect">
              <a:avLst/>
            </a:prstGeom>
            <a:solidFill>
              <a:srgbClr val="005A82"/>
            </a:solidFill>
            <a:ln w="12700">
              <a:solidFill>
                <a:srgbClr val="005A82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91436" tIns="45718" rIns="216000" bIns="45718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b="1" kern="0" dirty="0">
                  <a:solidFill>
                    <a:schemeClr val="bg1"/>
                  </a:solidFill>
                  <a:latin typeface="+mn-lt"/>
                  <a:cs typeface="+mn-cs"/>
                </a:rPr>
                <a:t>Bouw</a:t>
              </a:r>
            </a:p>
          </p:txBody>
        </p:sp>
        <p:sp>
          <p:nvSpPr>
            <p:cNvPr id="47" name="Rechthoek 51">
              <a:extLst>
                <a:ext uri="{FF2B5EF4-FFF2-40B4-BE49-F238E27FC236}">
                  <a16:creationId xmlns:a16="http://schemas.microsoft.com/office/drawing/2014/main" id="{78134F86-B8FB-47ED-9E61-D0487DF5AC7F}"/>
                </a:ext>
              </a:extLst>
            </p:cNvPr>
            <p:cNvSpPr/>
            <p:nvPr/>
          </p:nvSpPr>
          <p:spPr bwMode="auto">
            <a:xfrm flipH="1">
              <a:off x="6131046" y="3742842"/>
              <a:ext cx="1512000" cy="504000"/>
            </a:xfrm>
            <a:prstGeom prst="rect">
              <a:avLst/>
            </a:prstGeom>
            <a:solidFill>
              <a:srgbClr val="005A82"/>
            </a:solidFill>
            <a:ln w="12700">
              <a:solidFill>
                <a:srgbClr val="005A82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216000" tIns="45718" rIns="91436" bIns="45718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b="1" kern="0" dirty="0">
                  <a:solidFill>
                    <a:schemeClr val="bg1"/>
                  </a:solidFill>
                  <a:latin typeface="+mn-lt"/>
                  <a:cs typeface="+mn-cs"/>
                </a:rPr>
                <a:t>Acceptatie</a:t>
              </a:r>
            </a:p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b="1" kern="0" dirty="0">
                  <a:solidFill>
                    <a:schemeClr val="bg1"/>
                  </a:solidFill>
                  <a:latin typeface="+mn-lt"/>
                  <a:cs typeface="+mn-cs"/>
                </a:rPr>
                <a:t>Test</a:t>
              </a:r>
            </a:p>
          </p:txBody>
        </p:sp>
        <p:sp>
          <p:nvSpPr>
            <p:cNvPr id="48" name="Rechthoek 51">
              <a:extLst>
                <a:ext uri="{FF2B5EF4-FFF2-40B4-BE49-F238E27FC236}">
                  <a16:creationId xmlns:a16="http://schemas.microsoft.com/office/drawing/2014/main" id="{FFBC6E89-B9D2-4571-A513-F4A893DDA56D}"/>
                </a:ext>
              </a:extLst>
            </p:cNvPr>
            <p:cNvSpPr/>
            <p:nvPr/>
          </p:nvSpPr>
          <p:spPr bwMode="auto">
            <a:xfrm flipH="1">
              <a:off x="5543618" y="4856355"/>
              <a:ext cx="1512000" cy="504000"/>
            </a:xfrm>
            <a:prstGeom prst="rect">
              <a:avLst/>
            </a:prstGeom>
            <a:solidFill>
              <a:srgbClr val="005A82"/>
            </a:solidFill>
            <a:ln w="12700">
              <a:solidFill>
                <a:srgbClr val="005A82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216000" tIns="45718" rIns="91436" bIns="45718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b="1" kern="0" dirty="0">
                  <a:solidFill>
                    <a:schemeClr val="bg1"/>
                  </a:solidFill>
                  <a:latin typeface="+mn-lt"/>
                  <a:cs typeface="+mn-cs"/>
                </a:rPr>
                <a:t>Technische</a:t>
              </a:r>
            </a:p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b="1" kern="0" dirty="0">
                  <a:solidFill>
                    <a:schemeClr val="bg1"/>
                  </a:solidFill>
                  <a:latin typeface="+mn-lt"/>
                  <a:cs typeface="+mn-cs"/>
                </a:rPr>
                <a:t>Test</a:t>
              </a:r>
            </a:p>
          </p:txBody>
        </p:sp>
        <p:sp>
          <p:nvSpPr>
            <p:cNvPr id="49" name="Rechthoek 51">
              <a:extLst>
                <a:ext uri="{FF2B5EF4-FFF2-40B4-BE49-F238E27FC236}">
                  <a16:creationId xmlns:a16="http://schemas.microsoft.com/office/drawing/2014/main" id="{A654DE44-681E-43A8-B662-AA34B879FED1}"/>
                </a:ext>
              </a:extLst>
            </p:cNvPr>
            <p:cNvSpPr/>
            <p:nvPr/>
          </p:nvSpPr>
          <p:spPr bwMode="auto">
            <a:xfrm>
              <a:off x="1285421" y="2629329"/>
              <a:ext cx="1512000" cy="504000"/>
            </a:xfrm>
            <a:prstGeom prst="rect">
              <a:avLst/>
            </a:prstGeom>
            <a:solidFill>
              <a:srgbClr val="6B5C4F"/>
            </a:solidFill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91436" tIns="45718" rIns="216000" bIns="45718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b="1" kern="0" dirty="0">
                  <a:solidFill>
                    <a:schemeClr val="bg1"/>
                  </a:solidFill>
                  <a:latin typeface="+mn-lt"/>
                  <a:cs typeface="+mn-cs"/>
                </a:rPr>
                <a:t>Request</a:t>
              </a:r>
            </a:p>
          </p:txBody>
        </p:sp>
        <p:sp>
          <p:nvSpPr>
            <p:cNvPr id="50" name="Rechthoek 51">
              <a:extLst>
                <a:ext uri="{FF2B5EF4-FFF2-40B4-BE49-F238E27FC236}">
                  <a16:creationId xmlns:a16="http://schemas.microsoft.com/office/drawing/2014/main" id="{58510D2F-5DB5-4E9E-9780-2FF26C1393CD}"/>
                </a:ext>
              </a:extLst>
            </p:cNvPr>
            <p:cNvSpPr/>
            <p:nvPr/>
          </p:nvSpPr>
          <p:spPr bwMode="auto">
            <a:xfrm flipH="1">
              <a:off x="6398129" y="2629329"/>
              <a:ext cx="1512000" cy="504000"/>
            </a:xfrm>
            <a:prstGeom prst="rect">
              <a:avLst/>
            </a:prstGeom>
            <a:solidFill>
              <a:srgbClr val="6B5C4F"/>
            </a:solidFill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216000" tIns="45718" rIns="91436" bIns="45718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b="1" kern="0" dirty="0">
                  <a:solidFill>
                    <a:schemeClr val="bg1"/>
                  </a:solidFill>
                  <a:latin typeface="+mn-lt"/>
                  <a:cs typeface="+mn-cs"/>
                </a:rPr>
                <a:t>Deployment</a:t>
              </a:r>
            </a:p>
          </p:txBody>
        </p:sp>
        <p:sp>
          <p:nvSpPr>
            <p:cNvPr id="54" name="Oval 27">
              <a:extLst>
                <a:ext uri="{FF2B5EF4-FFF2-40B4-BE49-F238E27FC236}">
                  <a16:creationId xmlns:a16="http://schemas.microsoft.com/office/drawing/2014/main" id="{A0ACD81A-1B5A-4A68-B182-5129FCC483A8}"/>
                </a:ext>
              </a:extLst>
            </p:cNvPr>
            <p:cNvSpPr/>
            <p:nvPr/>
          </p:nvSpPr>
          <p:spPr bwMode="auto">
            <a:xfrm>
              <a:off x="2514292" y="2604958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B5C4F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2000" b="1" kern="0" dirty="0">
                  <a:solidFill>
                    <a:srgbClr val="6B5C4F"/>
                  </a:solidFill>
                  <a:latin typeface="Verdana"/>
                  <a:cs typeface="+mn-cs"/>
                </a:rPr>
                <a:t>1</a:t>
              </a:r>
            </a:p>
          </p:txBody>
        </p:sp>
        <p:sp>
          <p:nvSpPr>
            <p:cNvPr id="57" name="Oval 27">
              <a:extLst>
                <a:ext uri="{FF2B5EF4-FFF2-40B4-BE49-F238E27FC236}">
                  <a16:creationId xmlns:a16="http://schemas.microsoft.com/office/drawing/2014/main" id="{F5D755D5-CA62-46BF-8484-8811FE0F67B3}"/>
                </a:ext>
              </a:extLst>
            </p:cNvPr>
            <p:cNvSpPr/>
            <p:nvPr/>
          </p:nvSpPr>
          <p:spPr bwMode="auto">
            <a:xfrm>
              <a:off x="2770973" y="3718471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5A82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2000" b="1" kern="0" dirty="0">
                  <a:solidFill>
                    <a:srgbClr val="005A82"/>
                  </a:solidFill>
                  <a:latin typeface="Verdana"/>
                  <a:cs typeface="+mn-cs"/>
                </a:rPr>
                <a:t>2</a:t>
              </a:r>
            </a:p>
          </p:txBody>
        </p:sp>
        <p:sp>
          <p:nvSpPr>
            <p:cNvPr id="59" name="Oval 27">
              <a:extLst>
                <a:ext uri="{FF2B5EF4-FFF2-40B4-BE49-F238E27FC236}">
                  <a16:creationId xmlns:a16="http://schemas.microsoft.com/office/drawing/2014/main" id="{5EAAA506-B960-408F-9354-19C12CB604C9}"/>
                </a:ext>
              </a:extLst>
            </p:cNvPr>
            <p:cNvSpPr/>
            <p:nvPr/>
          </p:nvSpPr>
          <p:spPr bwMode="auto">
            <a:xfrm>
              <a:off x="3410293" y="4831984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5A82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2000" b="1" kern="0" dirty="0">
                  <a:solidFill>
                    <a:srgbClr val="005A82"/>
                  </a:solidFill>
                  <a:latin typeface="Verdana"/>
                  <a:cs typeface="+mn-cs"/>
                </a:rPr>
                <a:t>3</a:t>
              </a:r>
            </a:p>
          </p:txBody>
        </p:sp>
        <p:sp>
          <p:nvSpPr>
            <p:cNvPr id="60" name="Oval 27">
              <a:extLst>
                <a:ext uri="{FF2B5EF4-FFF2-40B4-BE49-F238E27FC236}">
                  <a16:creationId xmlns:a16="http://schemas.microsoft.com/office/drawing/2014/main" id="{699D7518-1198-461D-A078-7BBC0009BF13}"/>
                </a:ext>
              </a:extLst>
            </p:cNvPr>
            <p:cNvSpPr/>
            <p:nvPr/>
          </p:nvSpPr>
          <p:spPr bwMode="auto">
            <a:xfrm>
              <a:off x="6109957" y="2604958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B5C4F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2000" b="1" kern="0" dirty="0">
                  <a:solidFill>
                    <a:srgbClr val="6B5C4F"/>
                  </a:solidFill>
                  <a:latin typeface="Verdana"/>
                  <a:cs typeface="+mn-cs"/>
                </a:rPr>
                <a:t>6</a:t>
              </a:r>
            </a:p>
          </p:txBody>
        </p:sp>
        <p:sp>
          <p:nvSpPr>
            <p:cNvPr id="61" name="Oval 27">
              <a:extLst>
                <a:ext uri="{FF2B5EF4-FFF2-40B4-BE49-F238E27FC236}">
                  <a16:creationId xmlns:a16="http://schemas.microsoft.com/office/drawing/2014/main" id="{1A5C58F5-44E0-43DE-B1E4-BD534475F5F2}"/>
                </a:ext>
              </a:extLst>
            </p:cNvPr>
            <p:cNvSpPr/>
            <p:nvPr/>
          </p:nvSpPr>
          <p:spPr bwMode="auto">
            <a:xfrm>
              <a:off x="5842874" y="3718471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5A82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2000" b="1" kern="0" dirty="0">
                  <a:solidFill>
                    <a:srgbClr val="005A82"/>
                  </a:solidFill>
                  <a:latin typeface="Verdana"/>
                  <a:cs typeface="+mn-cs"/>
                </a:rPr>
                <a:t>5</a:t>
              </a:r>
            </a:p>
          </p:txBody>
        </p:sp>
        <p:sp>
          <p:nvSpPr>
            <p:cNvPr id="62" name="Oval 27">
              <a:extLst>
                <a:ext uri="{FF2B5EF4-FFF2-40B4-BE49-F238E27FC236}">
                  <a16:creationId xmlns:a16="http://schemas.microsoft.com/office/drawing/2014/main" id="{93080F89-4216-4F67-97EC-BF338494E252}"/>
                </a:ext>
              </a:extLst>
            </p:cNvPr>
            <p:cNvSpPr/>
            <p:nvPr/>
          </p:nvSpPr>
          <p:spPr bwMode="auto">
            <a:xfrm>
              <a:off x="5255446" y="4831984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5A82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2000" b="1" kern="0" dirty="0">
                  <a:solidFill>
                    <a:srgbClr val="005A82"/>
                  </a:solidFill>
                  <a:latin typeface="Verdana"/>
                  <a:cs typeface="+mn-cs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958184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6380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ogeti-ppt-template.pptx" id="{74CBC20A-5C78-4BA8-A195-24C07BE40C62}" vid="{37CBF029-434C-46BA-9DFA-AAAA65EBCFDD}"/>
    </a:ext>
  </a:extLst>
</a:theme>
</file>

<file path=ppt/theme/theme2.xml><?xml version="1.0" encoding="utf-8"?>
<a:theme xmlns:a="http://schemas.openxmlformats.org/drawingml/2006/main" name="Cover option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-ppt-template.pptx" id="{74CBC20A-5C78-4BA8-A195-24C07BE40C62}" vid="{D622C579-F77D-488D-92D0-B4D2EF913E1E}"/>
    </a:ext>
  </a:extLst>
</a:theme>
</file>

<file path=ppt/theme/theme3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-ppt-template.pptx" id="{74CBC20A-5C78-4BA8-A195-24C07BE40C62}" vid="{3FE84DFB-BE20-4F40-A922-BBAE6817D92D}"/>
    </a:ext>
  </a:extLst>
</a:theme>
</file>

<file path=ppt/theme/theme4.xml><?xml version="1.0" encoding="utf-8"?>
<a:theme xmlns:a="http://schemas.openxmlformats.org/drawingml/2006/main" name="Closing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Personnalisé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-ppt-template.pptx" id="{74CBC20A-5C78-4BA8-A195-24C07BE40C62}" vid="{3093F08A-50AC-4B6E-88A0-3C7666192B71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Personnalisé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DC82BCF5A7A84FB312F73B18B996B6" ma:contentTypeVersion="12" ma:contentTypeDescription="Create a new document." ma:contentTypeScope="" ma:versionID="c06052d01a21c48713dc4518be6cf9f3">
  <xsd:schema xmlns:xsd="http://www.w3.org/2001/XMLSchema" xmlns:xs="http://www.w3.org/2001/XMLSchema" xmlns:p="http://schemas.microsoft.com/office/2006/metadata/properties" xmlns:ns3="8de3ee10-b2c5-488c-b9c7-2ad3e36c7237" xmlns:ns4="c2f30b2d-55b9-498d-b119-b4f6b8b15781" targetNamespace="http://schemas.microsoft.com/office/2006/metadata/properties" ma:root="true" ma:fieldsID="4ba0fec4c62fda4afe43752117438963" ns3:_="" ns4:_="">
    <xsd:import namespace="8de3ee10-b2c5-488c-b9c7-2ad3e36c7237"/>
    <xsd:import namespace="c2f30b2d-55b9-498d-b119-b4f6b8b1578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e3ee10-b2c5-488c-b9c7-2ad3e36c72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f30b2d-55b9-498d-b119-b4f6b8b1578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BB24E2C-6B40-4BCB-B21C-550E8B0F8D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e3ee10-b2c5-488c-b9c7-2ad3e36c7237"/>
    <ds:schemaRef ds:uri="c2f30b2d-55b9-498d-b119-b4f6b8b157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D779D4-8D50-4E71-BFDB-73354579CE1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373A5D3-FAE9-46EA-8ADC-DC368B022900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c2f30b2d-55b9-498d-b119-b4f6b8b15781"/>
    <ds:schemaRef ds:uri="8de3ee10-b2c5-488c-b9c7-2ad3e36c7237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ogeti_PP_Template_16x9</Template>
  <TotalTime>120</TotalTime>
  <Words>93</Words>
  <Application>Microsoft Office PowerPoint</Application>
  <PresentationFormat>Widescreen</PresentationFormat>
  <Paragraphs>53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Verdana</vt:lpstr>
      <vt:lpstr>Wingdings</vt:lpstr>
      <vt:lpstr>Content Layouts</vt:lpstr>
      <vt:lpstr>Cover options</vt:lpstr>
      <vt:lpstr>Section slides</vt:lpstr>
      <vt:lpstr>Closing options</vt:lpstr>
      <vt:lpstr>think-cell Slide</vt:lpstr>
      <vt:lpstr>Applicatie packaging</vt:lpstr>
      <vt:lpstr>Packaging stappen</vt:lpstr>
      <vt:lpstr>Applicatie inventarisatie</vt:lpstr>
      <vt:lpstr>Setup</vt:lpstr>
      <vt:lpstr>Packaging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</dc:title>
  <dc:subject>Powerpoint template</dc:subject>
  <dc:creator>Bakker, Ronald</dc:creator>
  <cp:lastModifiedBy>Bakker, Ronald</cp:lastModifiedBy>
  <cp:revision>4</cp:revision>
  <dcterms:created xsi:type="dcterms:W3CDTF">2020-06-17T17:47:27Z</dcterms:created>
  <dcterms:modified xsi:type="dcterms:W3CDTF">2021-11-28T19:2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DC82BCF5A7A84FB312F73B18B996B6</vt:lpwstr>
  </property>
</Properties>
</file>